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8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9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0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1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2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3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4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5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6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17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8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9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20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1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22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23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4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25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26.xml" ContentType="application/vnd.openxmlformats-officedocument.theme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27.xml" ContentType="application/vnd.openxmlformats-officedocument.theme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28.xml" ContentType="application/vnd.openxmlformats-officedocument.theme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heme/theme29.xml" ContentType="application/vnd.openxmlformats-officedocument.theme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theme/theme30.xml" ContentType="application/vnd.openxmlformats-officedocument.theme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theme/theme31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2.xml" ContentType="application/vnd.openxmlformats-officedocument.theme+xml"/>
  <Override PartName="/ppt/theme/theme3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58" r:id="rId4"/>
    <p:sldMasterId id="2147483769" r:id="rId5"/>
    <p:sldMasterId id="2147483783" r:id="rId6"/>
    <p:sldMasterId id="2147483787" r:id="rId7"/>
    <p:sldMasterId id="2147483791" r:id="rId8"/>
    <p:sldMasterId id="2147483805" r:id="rId9"/>
    <p:sldMasterId id="2147483819" r:id="rId10"/>
    <p:sldMasterId id="2147483831" r:id="rId11"/>
    <p:sldMasterId id="2147483845" r:id="rId12"/>
    <p:sldMasterId id="2147483857" r:id="rId13"/>
    <p:sldMasterId id="2147483867" r:id="rId14"/>
    <p:sldMasterId id="2147483896" r:id="rId15"/>
    <p:sldMasterId id="2147483905" r:id="rId16"/>
    <p:sldMasterId id="2147483914" r:id="rId17"/>
    <p:sldMasterId id="2147483927" r:id="rId18"/>
    <p:sldMasterId id="2147483940" r:id="rId19"/>
    <p:sldMasterId id="2147483953" r:id="rId20"/>
    <p:sldMasterId id="2147483966" r:id="rId21"/>
    <p:sldMasterId id="2147483979" r:id="rId22"/>
    <p:sldMasterId id="2147483992" r:id="rId23"/>
    <p:sldMasterId id="2147484001" r:id="rId24"/>
    <p:sldMasterId id="2147484010" r:id="rId25"/>
    <p:sldMasterId id="2147484019" r:id="rId26"/>
    <p:sldMasterId id="2147484028" r:id="rId27"/>
    <p:sldMasterId id="2147484046" r:id="rId28"/>
    <p:sldMasterId id="2147484059" r:id="rId29"/>
    <p:sldMasterId id="2147484072" r:id="rId30"/>
    <p:sldMasterId id="2147484077" r:id="rId31"/>
    <p:sldMasterId id="2147484091" r:id="rId32"/>
    <p:sldMasterId id="2147484106" r:id="rId33"/>
    <p:sldMasterId id="2147484120" r:id="rId34"/>
  </p:sldMasterIdLst>
  <p:notesMasterIdLst>
    <p:notesMasterId r:id="rId41"/>
  </p:notesMasterIdLst>
  <p:handoutMasterIdLst>
    <p:handoutMasterId r:id="rId42"/>
  </p:handoutMasterIdLst>
  <p:sldIdLst>
    <p:sldId id="1420" r:id="rId35"/>
    <p:sldId id="1432" r:id="rId36"/>
    <p:sldId id="1433" r:id="rId37"/>
    <p:sldId id="1436" r:id="rId38"/>
    <p:sldId id="1434" r:id="rId39"/>
    <p:sldId id="1425" r:id="rId40"/>
  </p:sldIdLst>
  <p:sldSz cx="9906000" cy="6858000" type="A4"/>
  <p:notesSz cx="6794500" cy="9906000"/>
  <p:custDataLst>
    <p:tags r:id="rId43"/>
  </p:custDataLst>
  <p:defaultTextStyle>
    <a:defPPr>
      <a:defRPr lang="en-GB"/>
    </a:defPPr>
    <a:lvl1pPr algn="ctr" rtl="0" eaLnBrk="0" fontAlgn="base" hangingPunct="0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35026" algn="ctr" rtl="0" eaLnBrk="0" fontAlgn="base" hangingPunct="0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870052" algn="ctr" rtl="0" eaLnBrk="0" fontAlgn="base" hangingPunct="0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05077" algn="ctr" rtl="0" eaLnBrk="0" fontAlgn="base" hangingPunct="0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40103" algn="ctr" rtl="0" eaLnBrk="0" fontAlgn="base" hangingPunct="0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75129" algn="l" defTabSz="870052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610155" algn="l" defTabSz="870052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45181" algn="l" defTabSz="870052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80206" algn="l" defTabSz="870052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559">
          <p15:clr>
            <a:srgbClr val="A4A3A4"/>
          </p15:clr>
        </p15:guide>
        <p15:guide id="2" orient="horz" pos="4208">
          <p15:clr>
            <a:srgbClr val="A4A3A4"/>
          </p15:clr>
        </p15:guide>
        <p15:guide id="3" orient="horz" pos="191">
          <p15:clr>
            <a:srgbClr val="A4A3A4"/>
          </p15:clr>
        </p15:guide>
        <p15:guide id="4" orient="horz" pos="689">
          <p15:clr>
            <a:srgbClr val="A4A3A4"/>
          </p15:clr>
        </p15:guide>
        <p15:guide id="5" orient="horz" pos="3677">
          <p15:clr>
            <a:srgbClr val="A4A3A4"/>
          </p15:clr>
        </p15:guide>
        <p15:guide id="6" orient="horz" pos="1389">
          <p15:clr>
            <a:srgbClr val="A4A3A4"/>
          </p15:clr>
        </p15:guide>
        <p15:guide id="7" orient="horz" pos="2385">
          <p15:clr>
            <a:srgbClr val="A4A3A4"/>
          </p15:clr>
        </p15:guide>
        <p15:guide id="8" pos="137">
          <p15:clr>
            <a:srgbClr val="A4A3A4"/>
          </p15:clr>
        </p15:guide>
        <p15:guide id="9" pos="6113">
          <p15:clr>
            <a:srgbClr val="A4A3A4"/>
          </p15:clr>
        </p15:guide>
        <p15:guide id="10" pos="31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SILVERMAN" initials="PS" lastIdx="7" clrIdx="0"/>
  <p:cmAuthor id="1" name="mpapadatos" initials="m" lastIdx="1" clrIdx="1"/>
  <p:cmAuthor id="2" name="Yuling Liu" initials="YL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73E303"/>
    <a:srgbClr val="4CAD03"/>
    <a:srgbClr val="DDDDDD"/>
    <a:srgbClr val="FF3399"/>
    <a:srgbClr val="FFDFA4"/>
    <a:srgbClr val="BFBFBF"/>
    <a:srgbClr val="DBD1A5"/>
    <a:srgbClr val="BE9F66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 autoAdjust="0"/>
    <p:restoredTop sz="95040" autoAdjust="0"/>
  </p:normalViewPr>
  <p:slideViewPr>
    <p:cSldViewPr snapToGrid="0" snapToObjects="1">
      <p:cViewPr varScale="1">
        <p:scale>
          <a:sx n="104" d="100"/>
          <a:sy n="104" d="100"/>
        </p:scale>
        <p:origin x="768" y="96"/>
      </p:cViewPr>
      <p:guideLst>
        <p:guide orient="horz" pos="559"/>
        <p:guide orient="horz" pos="4208"/>
        <p:guide orient="horz" pos="191"/>
        <p:guide orient="horz" pos="689"/>
        <p:guide orient="horz" pos="3677"/>
        <p:guide orient="horz" pos="1389"/>
        <p:guide orient="horz" pos="2385"/>
        <p:guide pos="137"/>
        <p:guide pos="6113"/>
        <p:guide pos="3140"/>
      </p:guideLst>
    </p:cSldViewPr>
  </p:slideViewPr>
  <p:outlineViewPr>
    <p:cViewPr>
      <p:scale>
        <a:sx n="33" d="100"/>
        <a:sy n="33" d="100"/>
      </p:scale>
      <p:origin x="0" y="-4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5" d="100"/>
        <a:sy n="95" d="100"/>
      </p:scale>
      <p:origin x="0" y="0"/>
    </p:cViewPr>
  </p:sorterViewPr>
  <p:notesViewPr>
    <p:cSldViewPr snapToGrid="0" snapToObjects="1">
      <p:cViewPr varScale="1">
        <p:scale>
          <a:sx n="65" d="100"/>
          <a:sy n="65" d="100"/>
        </p:scale>
        <p:origin x="3366" y="60"/>
      </p:cViewPr>
      <p:guideLst>
        <p:guide orient="horz" pos="3110"/>
        <p:guide pos="2141"/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5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" Target="slides/slide4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" Target="slides/slide3.xml"/><Relationship Id="rId40" Type="http://schemas.openxmlformats.org/officeDocument/2006/relationships/slide" Target="slides/slide6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2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" Target="slides/slide1.xml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15151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2699" cy="49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383" tIns="0" rIns="19383" bIns="0" numCol="1" anchor="t" anchorCtr="0" compatLnSpc="1">
            <a:prstTxWarp prst="textNoShape">
              <a:avLst/>
            </a:prstTxWarp>
          </a:bodyPr>
          <a:lstStyle>
            <a:lvl1pPr algn="l" defTabSz="930436">
              <a:spcBef>
                <a:spcPct val="0"/>
              </a:spcBef>
              <a:defRPr sz="1000" b="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801" y="0"/>
            <a:ext cx="2942699" cy="49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383" tIns="0" rIns="19383" bIns="0" numCol="1" anchor="t" anchorCtr="0" compatLnSpc="1">
            <a:prstTxWarp prst="textNoShape">
              <a:avLst/>
            </a:prstTxWarp>
          </a:bodyPr>
          <a:lstStyle>
            <a:lvl1pPr algn="r" defTabSz="930436">
              <a:spcBef>
                <a:spcPct val="0"/>
              </a:spcBef>
              <a:defRPr sz="1000" b="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5488" y="750888"/>
            <a:ext cx="5343525" cy="37004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935" y="4703888"/>
            <a:ext cx="4982633" cy="4458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83" tIns="46843" rIns="93683" bIns="468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10937"/>
            <a:ext cx="2942699" cy="49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383" tIns="0" rIns="19383" bIns="0" numCol="1" anchor="b" anchorCtr="0" compatLnSpc="1">
            <a:prstTxWarp prst="textNoShape">
              <a:avLst/>
            </a:prstTxWarp>
          </a:bodyPr>
          <a:lstStyle>
            <a:lvl1pPr algn="l" defTabSz="930436">
              <a:spcBef>
                <a:spcPct val="0"/>
              </a:spcBef>
              <a:defRPr sz="1000" b="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801" y="9410937"/>
            <a:ext cx="2942699" cy="49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383" tIns="0" rIns="19383" bIns="0" numCol="1" anchor="b" anchorCtr="0" compatLnSpc="1">
            <a:prstTxWarp prst="textNoShape">
              <a:avLst/>
            </a:prstTxWarp>
          </a:bodyPr>
          <a:lstStyle>
            <a:lvl1pPr algn="r" defTabSz="930436">
              <a:spcBef>
                <a:spcPct val="0"/>
              </a:spcBef>
              <a:defRPr sz="1000" b="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B31E13DB-2C8C-48E0-935C-3F70CA36946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2438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35026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870052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05077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740103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175129" algn="l" defTabSz="8700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610155" algn="l" defTabSz="8700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45181" algn="l" defTabSz="8700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80206" algn="l" defTabSz="87005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defTabSz="9350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defTabSz="9350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defTabSz="9350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defTabSz="9350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>
              <a:spcBef>
                <a:spcPct val="0"/>
              </a:spcBef>
            </a:pPr>
            <a:fld id="{4FE4F70B-2A4D-4D53-8947-2C872511B80A}" type="slidenum">
              <a:rPr lang="en-GB" altLang="en-US" sz="1000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1</a:t>
            </a:fld>
            <a:endParaRPr lang="en-GB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016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defTabSz="935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defTabSz="9350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defTabSz="9350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defTabSz="9350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defTabSz="9350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>
              <a:spcBef>
                <a:spcPct val="0"/>
              </a:spcBef>
            </a:pPr>
            <a:fld id="{4FE4F70B-2A4D-4D53-8947-2C872511B80A}" type="slidenum">
              <a:rPr lang="en-GB" altLang="en-US" sz="1000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6</a:t>
            </a:fld>
            <a:endParaRPr lang="en-GB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0959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7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8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8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0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3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3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3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3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3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5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5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5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6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6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6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8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9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9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9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9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9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9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.bin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.bin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emf"/><Relationship Id="rId5" Type="http://schemas.openxmlformats.org/officeDocument/2006/relationships/tags" Target="../tags/tag5.xml"/><Relationship Id="rId10" Type="http://schemas.openxmlformats.org/officeDocument/2006/relationships/image" Target="../media/image7.jpeg"/><Relationship Id="rId4" Type="http://schemas.openxmlformats.org/officeDocument/2006/relationships/tags" Target="../tags/tag4.xml"/><Relationship Id="rId9" Type="http://schemas.openxmlformats.org/officeDocument/2006/relationships/image" Target="../media/image6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4532" name="Picture 52" descr="Picture1"/>
          <p:cNvPicPr>
            <a:picLocks noChangeAspect="1" noChangeArrowheads="1"/>
          </p:cNvPicPr>
          <p:nvPr userDrawn="1"/>
        </p:nvPicPr>
        <p:blipFill>
          <a:blip r:embed="rId2" cstate="print"/>
          <a:srcRect b="235"/>
          <a:stretch>
            <a:fillRect/>
          </a:stretch>
        </p:blipFill>
        <p:spPr bwMode="auto">
          <a:xfrm>
            <a:off x="0" y="4"/>
            <a:ext cx="9906000" cy="3837537"/>
          </a:xfrm>
          <a:prstGeom prst="rect">
            <a:avLst/>
          </a:prstGeom>
          <a:noFill/>
        </p:spPr>
      </p:pic>
      <p:sp>
        <p:nvSpPr>
          <p:cNvPr id="51" name="Rectangle 82"/>
          <p:cNvSpPr>
            <a:spLocks noChangeArrowheads="1"/>
          </p:cNvSpPr>
          <p:nvPr userDrawn="1"/>
        </p:nvSpPr>
        <p:spPr bwMode="auto">
          <a:xfrm>
            <a:off x="9596711" y="0"/>
            <a:ext cx="138005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4733" tIns="47368" rIns="94733" bIns="47368" anchor="ctr"/>
          <a:lstStyle/>
          <a:p>
            <a:pPr defTabSz="947088">
              <a:spcBef>
                <a:spcPct val="50000"/>
              </a:spcBef>
            </a:pPr>
            <a:endParaRPr lang="en-US" sz="700" i="1" dirty="0">
              <a:solidFill>
                <a:srgbClr val="000000"/>
              </a:solidFill>
            </a:endParaRPr>
          </a:p>
        </p:txBody>
      </p:sp>
      <p:sp>
        <p:nvSpPr>
          <p:cNvPr id="404506" name="AutoShape 26"/>
          <p:cNvSpPr>
            <a:spLocks noChangeArrowheads="1"/>
          </p:cNvSpPr>
          <p:nvPr userDrawn="1"/>
        </p:nvSpPr>
        <p:spPr bwMode="gray">
          <a:xfrm rot="16200000">
            <a:off x="9526792" y="5819381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/>
        </p:spPr>
        <p:txBody>
          <a:bodyPr vert="eaVert" wrap="none" lIns="94733" tIns="47368" rIns="94733" bIns="47368" anchor="ctr"/>
          <a:lstStyle/>
          <a:p>
            <a:pPr defTabSz="889689">
              <a:spcBef>
                <a:spcPct val="50000"/>
              </a:spcBef>
            </a:pPr>
            <a:endParaRPr lang="en-US" sz="700" b="0" i="1" dirty="0">
              <a:solidFill>
                <a:srgbClr val="000000"/>
              </a:solidFill>
            </a:endParaRPr>
          </a:p>
        </p:txBody>
      </p:sp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688508" y="4110896"/>
            <a:ext cx="8419797" cy="476124"/>
          </a:xfrm>
        </p:spPr>
        <p:txBody>
          <a:bodyPr bIns="0"/>
          <a:lstStyle>
            <a:lvl1pPr>
              <a:lnSpc>
                <a:spcPct val="100000"/>
              </a:lnSpc>
              <a:defRPr sz="2900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88507" y="4587174"/>
            <a:ext cx="6933593" cy="477627"/>
          </a:xfrm>
        </p:spPr>
        <p:txBody>
          <a:bodyPr tIns="0"/>
          <a:lstStyle>
            <a:lvl1pPr marL="0" indent="0">
              <a:spcBef>
                <a:spcPct val="0"/>
              </a:spcBef>
              <a:buClrTx/>
              <a:buFontTx/>
              <a:buNone/>
              <a:defRPr sz="2700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pic>
        <p:nvPicPr>
          <p:cNvPr id="404535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88910" y="5760060"/>
            <a:ext cx="1621175" cy="283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384550" y="635650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17811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SBC Text &amp;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2480" y="2924945"/>
            <a:ext cx="4134459" cy="309634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41722" y="2924944"/>
            <a:ext cx="4523052" cy="309634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71776" y="1341438"/>
            <a:ext cx="8893043" cy="129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065300"/>
      </p:ext>
    </p:extLst>
  </p:cSld>
  <p:clrMapOvr>
    <a:masterClrMapping/>
  </p:clrMapOvr>
  <p:hf sldNum="0"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72495" y="1412931"/>
            <a:ext cx="4290477" cy="237616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5"/>
          <p:cNvSpPr>
            <a:spLocks noGrp="1"/>
          </p:cNvSpPr>
          <p:nvPr>
            <p:ph sz="quarter" idx="11"/>
          </p:nvPr>
        </p:nvSpPr>
        <p:spPr>
          <a:xfrm>
            <a:off x="4953005" y="1412833"/>
            <a:ext cx="4290477" cy="237616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Content Placeholder 5"/>
          <p:cNvSpPr>
            <a:spLocks noGrp="1"/>
          </p:cNvSpPr>
          <p:nvPr>
            <p:ph sz="quarter" idx="12"/>
          </p:nvPr>
        </p:nvSpPr>
        <p:spPr>
          <a:xfrm>
            <a:off x="4953005" y="4005129"/>
            <a:ext cx="4290477" cy="237616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5"/>
          <p:cNvSpPr>
            <a:spLocks noGrp="1"/>
          </p:cNvSpPr>
          <p:nvPr>
            <p:ph sz="quarter" idx="13"/>
          </p:nvPr>
        </p:nvSpPr>
        <p:spPr>
          <a:xfrm>
            <a:off x="272495" y="4005129"/>
            <a:ext cx="4290477" cy="237616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290702"/>
      </p:ext>
    </p:extLst>
  </p:cSld>
  <p:clrMapOvr>
    <a:masterClrMapping/>
  </p:clrMapOvr>
  <p:hf sldNum="0"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271519" y="1412880"/>
            <a:ext cx="19510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4" tIns="45677" rIns="91354" bIns="45677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9pPr>
          </a:lstStyle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smtClean="0">
                <a:solidFill>
                  <a:srgbClr val="FF0000"/>
                </a:solidFill>
                <a:ea typeface="MS PGothic" pitchFamily="34" charset="-128"/>
              </a:rPr>
              <a:t>13/05/2011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71765" y="2132906"/>
            <a:ext cx="9634273" cy="417586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122219"/>
      </p:ext>
    </p:extLst>
  </p:cSld>
  <p:clrMapOvr>
    <a:masterClrMapping/>
  </p:clrMapOvr>
  <p:hf sldNum="0"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SB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2495" y="1700808"/>
            <a:ext cx="8970997" cy="4248472"/>
          </a:xfrm>
        </p:spPr>
        <p:txBody>
          <a:bodyPr/>
          <a:lstStyle>
            <a:lvl1pPr marL="0" indent="0">
              <a:buNone/>
              <a:defRPr sz="3200"/>
            </a:lvl1pPr>
            <a:lvl2pPr marL="456773" indent="0">
              <a:buNone/>
              <a:defRPr sz="2800"/>
            </a:lvl2pPr>
            <a:lvl3pPr marL="913537" indent="0">
              <a:buNone/>
              <a:defRPr sz="2400"/>
            </a:lvl3pPr>
            <a:lvl4pPr marL="1370311" indent="0">
              <a:buNone/>
              <a:defRPr sz="2000"/>
            </a:lvl4pPr>
            <a:lvl5pPr marL="1827081" indent="0">
              <a:buNone/>
              <a:defRPr sz="2000"/>
            </a:lvl5pPr>
            <a:lvl6pPr marL="2283849" indent="0">
              <a:buNone/>
              <a:defRPr sz="2000"/>
            </a:lvl6pPr>
            <a:lvl7pPr marL="2740617" indent="0">
              <a:buNone/>
              <a:defRPr sz="2000"/>
            </a:lvl7pPr>
            <a:lvl8pPr marL="3197390" indent="0">
              <a:buNone/>
              <a:defRPr sz="2000"/>
            </a:lvl8pPr>
            <a:lvl9pPr marL="3654157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2495" y="620714"/>
            <a:ext cx="8970997" cy="504825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766354"/>
      </p:ext>
    </p:extLst>
  </p:cSld>
  <p:clrMapOvr>
    <a:masterClrMapping/>
  </p:clrMapOvr>
  <p:hf sldNum="0"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SBC Horizontal 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57338"/>
            <a:ext cx="8971750" cy="4463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52185"/>
      </p:ext>
    </p:extLst>
  </p:cSld>
  <p:clrMapOvr>
    <a:masterClrMapping/>
  </p:clrMapOvr>
  <p:hf sldNum="0"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SBC Horizontal 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72520" y="1484367"/>
            <a:ext cx="8971401" cy="1584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272520" y="3140976"/>
            <a:ext cx="8971401" cy="15128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72520" y="4725346"/>
            <a:ext cx="8971401" cy="13668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314102"/>
      </p:ext>
    </p:extLst>
  </p:cSld>
  <p:clrMapOvr>
    <a:masterClrMapping/>
  </p:clrMapOvr>
  <p:hf sldNum="0"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SBC Horizontal 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2520" y="1556796"/>
            <a:ext cx="8971401" cy="208810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72520" y="3860800"/>
            <a:ext cx="8971401" cy="2160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978153"/>
      </p:ext>
    </p:extLst>
  </p:cSld>
  <p:clrMapOvr>
    <a:masterClrMapping/>
  </p:clrMapOvr>
  <p:hf sldNum="0"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964109"/>
      </p:ext>
    </p:extLst>
  </p:cSld>
  <p:clrMapOvr>
    <a:masterClrMapping/>
  </p:clrMapOvr>
  <p:hf sldNum="0"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620714"/>
            <a:ext cx="8420100" cy="504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42950" y="1628775"/>
            <a:ext cx="8420100" cy="4114800"/>
          </a:xfrm>
        </p:spPr>
        <p:txBody>
          <a:bodyPr/>
          <a:lstStyle/>
          <a:p>
            <a:pPr lvl="0"/>
            <a:endParaRPr lang="en-GB" noProof="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089762"/>
      </p:ext>
    </p:extLst>
  </p:cSld>
  <p:clrMapOvr>
    <a:masterClrMapping/>
  </p:clrMapOvr>
  <p:hf sldNum="0"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620714"/>
            <a:ext cx="8420100" cy="504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2966" y="1628775"/>
            <a:ext cx="4133851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9" y="1628775"/>
            <a:ext cx="4133851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201786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6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20482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742950" y="620719"/>
            <a:ext cx="8420100" cy="51228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840967"/>
      </p:ext>
    </p:extLst>
  </p:cSld>
  <p:clrMapOvr>
    <a:masterClrMapping/>
  </p:clrMapOvr>
  <p:hf sldNum="0"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620714"/>
            <a:ext cx="8420100" cy="504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2950" y="1628775"/>
            <a:ext cx="842010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2950" y="3762375"/>
            <a:ext cx="842010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003935"/>
      </p:ext>
    </p:extLst>
  </p:cSld>
  <p:clrMapOvr>
    <a:masterClrMapping/>
  </p:clrMapOvr>
  <p:hf sldNum="0"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SlideBas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515944" y="1905000"/>
            <a:ext cx="7223125" cy="9525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" name="Shape 4"/>
          <p:cNvSpPr>
            <a:spLocks noGrp="1"/>
          </p:cNvSpPr>
          <p:nvPr>
            <p:ph type="subTitle" idx="1"/>
          </p:nvPr>
        </p:nvSpPr>
        <p:spPr>
          <a:xfrm>
            <a:off x="928694" y="3095625"/>
            <a:ext cx="6397625" cy="142875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227650"/>
      </p:ext>
    </p:extLst>
  </p:cSld>
  <p:clrMapOvr>
    <a:masterClrMapping/>
  </p:clrMapOvr>
  <p:transition>
    <p:fade thruBlk="1"/>
  </p:transition>
  <p:hf sldNum="0"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275167" y="560388"/>
            <a:ext cx="9328150" cy="1085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92369" y="1638301"/>
            <a:ext cx="4576366" cy="2166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033870" y="1638301"/>
            <a:ext cx="4578085" cy="2166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292369" y="3957704"/>
            <a:ext cx="4576366" cy="21669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3870" y="3957704"/>
            <a:ext cx="4578085" cy="21669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983300"/>
      </p:ext>
    </p:extLst>
  </p:cSld>
  <p:clrMapOvr>
    <a:masterClrMapping/>
  </p:clrMapOvr>
  <p:transition/>
  <p:hf sldNum="0"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9" y="274638"/>
            <a:ext cx="8915400" cy="8683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95300" y="1600216"/>
            <a:ext cx="437515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035550" y="1600200"/>
            <a:ext cx="437515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035550" y="3938648"/>
            <a:ext cx="437515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990605"/>
            <a:ext cx="2311400" cy="476250"/>
          </a:xfrm>
          <a:prstGeom prst="rect">
            <a:avLst/>
          </a:prstGeom>
        </p:spPr>
        <p:txBody>
          <a:bodyPr lIns="91354" tIns="45677" rIns="91354" bIns="45677"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548568"/>
      </p:ext>
    </p:extLst>
  </p:cSld>
  <p:clrMapOvr>
    <a:masterClrMapping/>
  </p:clrMapOvr>
  <p:hf sldNum="0" hd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836" y="416073"/>
            <a:ext cx="9424458" cy="55609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49989" y="1550614"/>
            <a:ext cx="3452092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52165" y="1550673"/>
            <a:ext cx="3453654" cy="221876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52165" y="3903915"/>
            <a:ext cx="3453654" cy="221876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654554" y="6434337"/>
            <a:ext cx="425450" cy="274637"/>
          </a:xfrm>
          <a:prstGeom prst="rect">
            <a:avLst/>
          </a:prstGeom>
        </p:spPr>
        <p:txBody>
          <a:bodyPr lIns="85882" tIns="42941" rIns="85882" bIns="42941"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796CE638-9F55-4242-82BD-4812BF86024F}" type="slidenum">
              <a:rPr lang="en-US" sz="1800" b="0">
                <a:solidFill>
                  <a:srgbClr val="000000"/>
                </a:solidFill>
              </a:rPr>
              <a:pPr algn="l" defTabSz="91353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800" b="0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858420"/>
      </p:ext>
    </p:extLst>
  </p:cSld>
  <p:clrMapOvr>
    <a:masterClrMapping/>
  </p:clrMapOvr>
  <p:hf sldNum="0"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SBC Horizontal 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2520" y="1556796"/>
            <a:ext cx="8971401" cy="208810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72520" y="3860800"/>
            <a:ext cx="8971401" cy="2160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751067"/>
      </p:ext>
    </p:extLst>
  </p:cSld>
  <p:clrMapOvr>
    <a:masterClrMapping/>
  </p:clrMapOvr>
  <p:hf sldNum="0" hd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SBC Text &amp;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2480" y="2924945"/>
            <a:ext cx="4134459" cy="309634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41722" y="2924944"/>
            <a:ext cx="4523052" cy="309634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71776" y="1341438"/>
            <a:ext cx="8893043" cy="129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800203"/>
      </p:ext>
    </p:extLst>
  </p:cSld>
  <p:clrMapOvr>
    <a:masterClrMapping/>
  </p:clrMapOvr>
  <p:hf sldNum="0" hd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SBC Horizontal 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727" y="1557338"/>
            <a:ext cx="8971750" cy="4463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954423"/>
      </p:ext>
    </p:extLst>
  </p:cSld>
  <p:clrMapOvr>
    <a:masterClrMapping/>
  </p:clrMapOvr>
  <p:hf sldNum="0" hd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SBC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1412776"/>
            <a:ext cx="5370506" cy="46085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0497" y="620714"/>
            <a:ext cx="8892988" cy="504825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28287" y="1412784"/>
            <a:ext cx="3276203" cy="46086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881653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tIns="35997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30013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4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33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53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69" y="6039507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25860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2" y="1484320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27" y="1484320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579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21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95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21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8194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21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9160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7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21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2101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4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4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4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4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6569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4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352340"/>
      </p:ext>
    </p:extLst>
  </p:cSld>
  <p:clrMapOvr>
    <a:masterClrMapping/>
  </p:clrMapOvr>
  <p:hf sldNum="0" hd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29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49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67" y="6039503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97003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25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1842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33135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5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0057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5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8957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5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5979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5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389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4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4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4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4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41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729773"/>
      </p:ext>
    </p:extLst>
  </p:cSld>
  <p:clrMapOvr>
    <a:masterClrMapping/>
  </p:clrMapOvr>
  <p:hf sldNum="0" hd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33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53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69" y="6039507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43757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27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4869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7118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049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89840" y="484188"/>
            <a:ext cx="2339975" cy="59420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66700" y="484188"/>
            <a:ext cx="6870700" cy="59420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79877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0137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4478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4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4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4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4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249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346158"/>
      </p:ext>
    </p:extLst>
  </p:cSld>
  <p:clrMapOvr>
    <a:masterClrMapping/>
  </p:clrMapOvr>
  <p:hf sldNum="0"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56" y="1229293"/>
            <a:ext cx="8790278" cy="1641475"/>
          </a:xfrm>
        </p:spPr>
        <p:txBody>
          <a:bodyPr/>
          <a:lstStyle>
            <a:lvl4pPr marL="652378" indent="-161295">
              <a:buFont typeface="Arial" pitchFamily="34" charset="0"/>
              <a:buChar char="–"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422156"/>
      </p:ext>
    </p:extLst>
  </p:cSld>
  <p:clrMapOvr>
    <a:masterClrMapping/>
  </p:clrMapOvr>
  <p:hf hd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550505" y="294389"/>
            <a:ext cx="8804996" cy="68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63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171695" y="6404150"/>
            <a:ext cx="2183809" cy="172951"/>
          </a:xfrm>
        </p:spPr>
        <p:txBody>
          <a:bodyPr wrap="square" lIns="0" tIns="0" rIns="0" bIns="0" anchor="ctr">
            <a:noAutofit/>
          </a:bodyPr>
          <a:lstStyle>
            <a:lvl1pPr algn="r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74967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506" y="479495"/>
            <a:ext cx="8804996" cy="276999"/>
          </a:xfrm>
        </p:spPr>
        <p:txBody>
          <a:bodyPr bIns="0">
            <a:spAutoFit/>
          </a:bodyPr>
          <a:lstStyle>
            <a:lvl1pPr>
              <a:tabLst>
                <a:tab pos="328562" algn="l"/>
              </a:tabLst>
              <a:defRPr baseline="0"/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5452" y="6527900"/>
            <a:ext cx="3136193" cy="174717"/>
          </a:xfrm>
        </p:spPr>
        <p:txBody>
          <a:bodyPr/>
          <a:lstStyle>
            <a:lvl1pPr algn="r">
              <a:defRPr sz="1100"/>
            </a:lvl1pPr>
          </a:lstStyle>
          <a:p>
            <a:pPr>
              <a:buClr>
                <a:srgbClr val="FF0000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502" y="153805"/>
            <a:ext cx="8800448" cy="276999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161400" indent="-161400">
              <a:buNone/>
              <a:tabLst/>
              <a:defRPr b="1" i="1" baseline="0">
                <a:latin typeface="+mn-lt"/>
              </a:defRPr>
            </a:lvl1pPr>
            <a:lvl2pPr>
              <a:defRPr b="1" i="1">
                <a:latin typeface="+mn-lt"/>
              </a:defRPr>
            </a:lvl2pPr>
            <a:lvl3pPr>
              <a:defRPr b="1" i="1">
                <a:latin typeface="+mn-lt"/>
              </a:defRPr>
            </a:lvl3pPr>
            <a:lvl4pPr>
              <a:defRPr b="1" i="1">
                <a:latin typeface="+mn-lt"/>
              </a:defRPr>
            </a:lvl4pPr>
            <a:lvl5pPr>
              <a:defRPr b="1" i="1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503" y="6222668"/>
            <a:ext cx="8794381" cy="140720"/>
          </a:xfrm>
        </p:spPr>
        <p:txBody>
          <a:bodyPr tIns="32679"/>
          <a:lstStyle>
            <a:lvl1pPr marL="163396" indent="-163396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700"/>
            </a:lvl1pPr>
          </a:lstStyle>
          <a:p>
            <a:pPr lvl="0"/>
            <a:r>
              <a:rPr lang="en-GB" noProof="0" dirty="0" smtClean="0"/>
              <a:t>Click to add note(s)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766761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4"/>
          <p:cNvGrpSpPr>
            <a:grpSpLocks/>
          </p:cNvGrpSpPr>
          <p:nvPr userDrawn="1"/>
        </p:nvGrpSpPr>
        <p:grpSpPr bwMode="auto">
          <a:xfrm>
            <a:off x="0" y="0"/>
            <a:ext cx="9906000" cy="3837537"/>
            <a:chOff x="0" y="0"/>
            <a:chExt cx="6532" cy="2555"/>
          </a:xfrm>
        </p:grpSpPr>
        <p:pic>
          <p:nvPicPr>
            <p:cNvPr id="5" name="Picture 52" descr="Picture1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532" cy="2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 Box 49"/>
            <p:cNvSpPr txBox="1">
              <a:spLocks noChangeArrowheads="1"/>
            </p:cNvSpPr>
            <p:nvPr userDrawn="1"/>
          </p:nvSpPr>
          <p:spPr bwMode="auto">
            <a:xfrm>
              <a:off x="3673" y="2374"/>
              <a:ext cx="122" cy="129"/>
            </a:xfrm>
            <a:prstGeom prst="rect">
              <a:avLst/>
            </a:prstGeom>
            <a:solidFill>
              <a:srgbClr val="A5A6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0" hangingPunct="0">
                <a:defRPr/>
              </a:pPr>
              <a:endParaRPr lang="en-US" sz="662" b="0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7" name="Rectangle 82"/>
          <p:cNvSpPr>
            <a:spLocks noChangeArrowheads="1"/>
          </p:cNvSpPr>
          <p:nvPr userDrawn="1"/>
        </p:nvSpPr>
        <p:spPr bwMode="auto">
          <a:xfrm>
            <a:off x="9596628" y="0"/>
            <a:ext cx="138005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98" tIns="47100" rIns="94198" bIns="47100" anchor="ctr"/>
          <a:lstStyle>
            <a:lvl1pPr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0" hangingPunct="0">
              <a:spcBef>
                <a:spcPct val="50000"/>
              </a:spcBef>
              <a:defRPr/>
            </a:pPr>
            <a:endParaRPr lang="en-US" altLang="en-US" sz="662" i="1" dirty="0"/>
          </a:p>
        </p:txBody>
      </p:sp>
      <p:sp>
        <p:nvSpPr>
          <p:cNvPr id="8" name="AutoShape 26"/>
          <p:cNvSpPr>
            <a:spLocks noChangeArrowheads="1"/>
          </p:cNvSpPr>
          <p:nvPr userDrawn="1"/>
        </p:nvSpPr>
        <p:spPr bwMode="gray">
          <a:xfrm rot="16200000">
            <a:off x="9526792" y="5819381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4198" tIns="47100" rIns="94198" bIns="47100" anchor="ctr"/>
          <a:lstStyle>
            <a:lvl1pPr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0" hangingPunct="0">
              <a:spcBef>
                <a:spcPct val="50000"/>
              </a:spcBef>
              <a:defRPr/>
            </a:pPr>
            <a:endParaRPr lang="en-US" altLang="en-US" sz="662" b="0" i="1" dirty="0"/>
          </a:p>
        </p:txBody>
      </p:sp>
      <p:pic>
        <p:nvPicPr>
          <p:cNvPr id="9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827" y="5760060"/>
            <a:ext cx="1621175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688506" y="4110896"/>
            <a:ext cx="8419797" cy="476124"/>
          </a:xfrm>
        </p:spPr>
        <p:txBody>
          <a:bodyPr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88507" y="4587020"/>
            <a:ext cx="6933593" cy="407676"/>
          </a:xfrm>
        </p:spPr>
        <p:txBody>
          <a:bodyPr tIns="0"/>
          <a:lstStyle>
            <a:lvl1pPr marL="0" indent="0">
              <a:spcBef>
                <a:spcPct val="0"/>
              </a:spcBef>
              <a:buClrTx/>
              <a:buFontTx/>
              <a:buNone/>
              <a:defRPr sz="2649" smtClean="0"/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10" name="Rectangle 56"/>
          <p:cNvSpPr>
            <a:spLocks noGrp="1" noChangeArrowheads="1"/>
          </p:cNvSpPr>
          <p:nvPr>
            <p:ph type="ftr" sz="quarter" idx="10"/>
          </p:nvPr>
        </p:nvSpPr>
        <p:spPr>
          <a:xfrm>
            <a:off x="686990" y="6404405"/>
            <a:ext cx="0" cy="160711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3331657"/>
      </p:ext>
    </p:extLst>
  </p:cSld>
  <p:clrMapOvr>
    <a:masterClrMapping/>
  </p:clrMapOvr>
  <p:hf sldNum="0" hd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23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43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64" y="6039497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86224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21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6247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143" y="484188"/>
            <a:ext cx="7694612" cy="431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92138" y="1257300"/>
            <a:ext cx="9037637" cy="5168900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73969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2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2809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2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5844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2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9513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2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107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3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3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3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3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727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364685"/>
      </p:ext>
    </p:extLst>
  </p:cSld>
  <p:clrMapOvr>
    <a:masterClrMapping/>
  </p:clrMapOvr>
  <p:hf sldNum="0"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25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45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65" y="6039498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15379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56" y="1229293"/>
            <a:ext cx="8790278" cy="1641475"/>
          </a:xfrm>
        </p:spPr>
        <p:txBody>
          <a:bodyPr/>
          <a:lstStyle>
            <a:lvl4pPr marL="652378" indent="-161295">
              <a:buFont typeface="Arial" pitchFamily="34" charset="0"/>
              <a:buChar char="–"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306307"/>
      </p:ext>
    </p:extLst>
  </p:cSld>
  <p:clrMapOvr>
    <a:masterClrMapping/>
  </p:clrMapOvr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550505" y="294389"/>
            <a:ext cx="8804996" cy="68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63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171695" y="6404140"/>
            <a:ext cx="2183809" cy="172951"/>
          </a:xfrm>
        </p:spPr>
        <p:txBody>
          <a:bodyPr wrap="square" lIns="0" tIns="0" rIns="0" bIns="0" anchor="ctr">
            <a:noAutofit/>
          </a:bodyPr>
          <a:lstStyle>
            <a:lvl1pPr algn="r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6524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506" y="479495"/>
            <a:ext cx="8804996" cy="276999"/>
          </a:xfrm>
        </p:spPr>
        <p:txBody>
          <a:bodyPr bIns="0">
            <a:spAutoFit/>
          </a:bodyPr>
          <a:lstStyle>
            <a:lvl1pPr>
              <a:tabLst>
                <a:tab pos="328562" algn="l"/>
              </a:tabLst>
              <a:defRPr baseline="0"/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5447" y="6527890"/>
            <a:ext cx="3136193" cy="174717"/>
          </a:xfrm>
        </p:spPr>
        <p:txBody>
          <a:bodyPr/>
          <a:lstStyle>
            <a:lvl1pPr algn="r">
              <a:defRPr sz="1100"/>
            </a:lvl1pPr>
          </a:lstStyle>
          <a:p>
            <a:pPr>
              <a:buClr>
                <a:srgbClr val="FF0000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502" y="153805"/>
            <a:ext cx="8800448" cy="276999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161400" indent="-161400">
              <a:buNone/>
              <a:tabLst/>
              <a:defRPr b="1" i="1" baseline="0">
                <a:latin typeface="+mn-lt"/>
              </a:defRPr>
            </a:lvl1pPr>
            <a:lvl2pPr>
              <a:defRPr b="1" i="1">
                <a:latin typeface="+mn-lt"/>
              </a:defRPr>
            </a:lvl2pPr>
            <a:lvl3pPr>
              <a:defRPr b="1" i="1">
                <a:latin typeface="+mn-lt"/>
              </a:defRPr>
            </a:lvl3pPr>
            <a:lvl4pPr>
              <a:defRPr b="1" i="1">
                <a:latin typeface="+mn-lt"/>
              </a:defRPr>
            </a:lvl4pPr>
            <a:lvl5pPr>
              <a:defRPr b="1" i="1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503" y="6222668"/>
            <a:ext cx="8794381" cy="140720"/>
          </a:xfrm>
        </p:spPr>
        <p:txBody>
          <a:bodyPr tIns="32679"/>
          <a:lstStyle>
            <a:lvl1pPr marL="163396" indent="-163396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700"/>
            </a:lvl1pPr>
          </a:lstStyle>
          <a:p>
            <a:pPr lvl="0"/>
            <a:r>
              <a:rPr lang="en-GB" noProof="0" dirty="0" smtClean="0"/>
              <a:t>Click to add note(s)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3391780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143" y="484188"/>
            <a:ext cx="7694612" cy="431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92138" y="1257300"/>
            <a:ext cx="4441825" cy="51689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6371" y="1257300"/>
            <a:ext cx="4443412" cy="51689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2699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11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31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58" y="6039485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99842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15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0380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06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298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06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7834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06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6350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06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1804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2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2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2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2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8875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46479"/>
      </p:ext>
    </p:extLst>
  </p:cSld>
  <p:clrMapOvr>
    <a:masterClrMapping/>
  </p:clrMapOvr>
  <p:hf sldNum="0"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13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33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59" y="6039486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68255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56" y="1229293"/>
            <a:ext cx="8790278" cy="1641475"/>
          </a:xfrm>
        </p:spPr>
        <p:txBody>
          <a:bodyPr/>
          <a:lstStyle>
            <a:lvl4pPr marL="652378" indent="-161295">
              <a:buFont typeface="Arial" pitchFamily="34" charset="0"/>
              <a:buChar char="–"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71439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9905998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41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74" y="6039515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32897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550505" y="294389"/>
            <a:ext cx="8804996" cy="68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63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171695" y="6404128"/>
            <a:ext cx="2183809" cy="172951"/>
          </a:xfrm>
        </p:spPr>
        <p:txBody>
          <a:bodyPr wrap="square" lIns="0" tIns="0" rIns="0" bIns="0" anchor="ctr">
            <a:noAutofit/>
          </a:bodyPr>
          <a:lstStyle>
            <a:lvl1pPr algn="r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98178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506" y="479495"/>
            <a:ext cx="8804996" cy="276999"/>
          </a:xfrm>
        </p:spPr>
        <p:txBody>
          <a:bodyPr bIns="0">
            <a:spAutoFit/>
          </a:bodyPr>
          <a:lstStyle>
            <a:lvl1pPr>
              <a:tabLst>
                <a:tab pos="328562" algn="l"/>
              </a:tabLst>
              <a:defRPr baseline="0"/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5440" y="6527878"/>
            <a:ext cx="3136193" cy="174717"/>
          </a:xfrm>
        </p:spPr>
        <p:txBody>
          <a:bodyPr/>
          <a:lstStyle>
            <a:lvl1pPr algn="r">
              <a:defRPr sz="1100"/>
            </a:lvl1pPr>
          </a:lstStyle>
          <a:p>
            <a:pPr>
              <a:buClr>
                <a:srgbClr val="FF0000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502" y="153805"/>
            <a:ext cx="8800448" cy="276999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161400" indent="-161400">
              <a:buNone/>
              <a:tabLst/>
              <a:defRPr b="1" i="1" baseline="0">
                <a:latin typeface="+mn-lt"/>
              </a:defRPr>
            </a:lvl1pPr>
            <a:lvl2pPr>
              <a:defRPr b="1" i="1">
                <a:latin typeface="+mn-lt"/>
              </a:defRPr>
            </a:lvl2pPr>
            <a:lvl3pPr>
              <a:defRPr b="1" i="1">
                <a:latin typeface="+mn-lt"/>
              </a:defRPr>
            </a:lvl3pPr>
            <a:lvl4pPr>
              <a:defRPr b="1" i="1">
                <a:latin typeface="+mn-lt"/>
              </a:defRPr>
            </a:lvl4pPr>
            <a:lvl5pPr>
              <a:defRPr b="1" i="1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503" y="6222668"/>
            <a:ext cx="8794381" cy="140720"/>
          </a:xfrm>
        </p:spPr>
        <p:txBody>
          <a:bodyPr tIns="32679"/>
          <a:lstStyle>
            <a:lvl1pPr marL="163396" indent="-163396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700"/>
            </a:lvl1pPr>
          </a:lstStyle>
          <a:p>
            <a:pPr lvl="0"/>
            <a:r>
              <a:rPr lang="en-GB" noProof="0" dirty="0" smtClean="0"/>
              <a:t>Click to add note(s)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7718111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97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17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50" y="6039471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48550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07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4940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8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1692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8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1466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8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3391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8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2676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1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1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1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1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51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745031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3595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99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19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51" y="6039472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40997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56" y="1229293"/>
            <a:ext cx="8790278" cy="1641475"/>
          </a:xfrm>
        </p:spPr>
        <p:txBody>
          <a:bodyPr/>
          <a:lstStyle>
            <a:lvl4pPr marL="652378" indent="-161295">
              <a:buFont typeface="Arial" pitchFamily="34" charset="0"/>
              <a:buChar char="–"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996719"/>
      </p:ext>
    </p:extLst>
  </p:cSld>
  <p:clrMapOvr>
    <a:masterClrMapping/>
  </p:clrMapOvr>
  <p:hf hd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506" y="479495"/>
            <a:ext cx="8804996" cy="276999"/>
          </a:xfrm>
        </p:spPr>
        <p:txBody>
          <a:bodyPr bIns="0">
            <a:spAutoFit/>
          </a:bodyPr>
          <a:lstStyle>
            <a:lvl1pPr>
              <a:tabLst>
                <a:tab pos="328562" algn="l"/>
              </a:tabLst>
              <a:defRPr baseline="0"/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5433" y="6527864"/>
            <a:ext cx="3136193" cy="174717"/>
          </a:xfrm>
        </p:spPr>
        <p:txBody>
          <a:bodyPr/>
          <a:lstStyle>
            <a:lvl1pPr algn="r">
              <a:defRPr sz="1100"/>
            </a:lvl1pPr>
          </a:lstStyle>
          <a:p>
            <a:pPr>
              <a:buClr>
                <a:srgbClr val="FF0000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502" y="153805"/>
            <a:ext cx="8800448" cy="276999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161400" indent="-161400">
              <a:buNone/>
              <a:tabLst/>
              <a:defRPr b="1" i="1" baseline="0">
                <a:latin typeface="+mn-lt"/>
              </a:defRPr>
            </a:lvl1pPr>
            <a:lvl2pPr>
              <a:defRPr b="1" i="1">
                <a:latin typeface="+mn-lt"/>
              </a:defRPr>
            </a:lvl2pPr>
            <a:lvl3pPr>
              <a:defRPr b="1" i="1">
                <a:latin typeface="+mn-lt"/>
              </a:defRPr>
            </a:lvl3pPr>
            <a:lvl4pPr>
              <a:defRPr b="1" i="1">
                <a:latin typeface="+mn-lt"/>
              </a:defRPr>
            </a:lvl4pPr>
            <a:lvl5pPr>
              <a:defRPr b="1" i="1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503" y="6222668"/>
            <a:ext cx="8794381" cy="140720"/>
          </a:xfrm>
        </p:spPr>
        <p:txBody>
          <a:bodyPr tIns="32679"/>
          <a:lstStyle>
            <a:lvl1pPr marL="163396" indent="-163396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700"/>
            </a:lvl1pPr>
          </a:lstStyle>
          <a:p>
            <a:pPr lvl="0"/>
            <a:r>
              <a:rPr lang="en-GB" noProof="0" dirty="0" smtClean="0"/>
              <a:t>Click to add note(s)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0574002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81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01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41" y="6039455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65074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499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94212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89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1146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89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2700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89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1192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89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158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59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59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59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59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8894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9905998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386" y="2042464"/>
            <a:ext cx="4523671" cy="334800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509070"/>
      </p:ext>
    </p:extLst>
  </p:cSld>
  <p:clrMapOvr>
    <a:masterClrMapping/>
  </p:clrMapOvr>
  <p:hf sldNum="0" hdr="0" dt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858842"/>
      </p:ext>
    </p:extLst>
  </p:cSld>
  <p:clrMapOvr>
    <a:masterClrMapping/>
  </p:clrMapOvr>
  <p:hf sldNum="0" hdr="0" dt="0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83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03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42" y="6039456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9036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56" y="1229293"/>
            <a:ext cx="8790278" cy="1641475"/>
          </a:xfrm>
        </p:spPr>
        <p:txBody>
          <a:bodyPr/>
          <a:lstStyle>
            <a:lvl4pPr marL="652378" indent="-161295">
              <a:buFont typeface="Arial" pitchFamily="34" charset="0"/>
              <a:buChar char="–"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200701"/>
      </p:ext>
    </p:extLst>
  </p:cSld>
  <p:clrMapOvr>
    <a:masterClrMapping/>
  </p:clrMapOvr>
  <p:hf hd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506" y="479495"/>
            <a:ext cx="8804996" cy="276999"/>
          </a:xfrm>
        </p:spPr>
        <p:txBody>
          <a:bodyPr bIns="0">
            <a:spAutoFit/>
          </a:bodyPr>
          <a:lstStyle>
            <a:lvl1pPr>
              <a:tabLst>
                <a:tab pos="328562" algn="l"/>
              </a:tabLst>
              <a:defRPr baseline="0"/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5424" y="6527848"/>
            <a:ext cx="3136193" cy="174717"/>
          </a:xfrm>
        </p:spPr>
        <p:txBody>
          <a:bodyPr/>
          <a:lstStyle>
            <a:lvl1pPr algn="r">
              <a:defRPr sz="1100"/>
            </a:lvl1pPr>
          </a:lstStyle>
          <a:p>
            <a:pPr>
              <a:buClr>
                <a:srgbClr val="FF0000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502" y="153805"/>
            <a:ext cx="8800448" cy="276999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161400" indent="-161400">
              <a:buNone/>
              <a:tabLst/>
              <a:defRPr b="1" i="1" baseline="0">
                <a:latin typeface="+mn-lt"/>
              </a:defRPr>
            </a:lvl1pPr>
            <a:lvl2pPr>
              <a:defRPr b="1" i="1">
                <a:latin typeface="+mn-lt"/>
              </a:defRPr>
            </a:lvl2pPr>
            <a:lvl3pPr>
              <a:defRPr b="1" i="1">
                <a:latin typeface="+mn-lt"/>
              </a:defRPr>
            </a:lvl3pPr>
            <a:lvl4pPr>
              <a:defRPr b="1" i="1">
                <a:latin typeface="+mn-lt"/>
              </a:defRPr>
            </a:lvl4pPr>
            <a:lvl5pPr>
              <a:defRPr b="1" i="1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503" y="6222668"/>
            <a:ext cx="8794381" cy="140720"/>
          </a:xfrm>
        </p:spPr>
        <p:txBody>
          <a:bodyPr tIns="32679"/>
          <a:lstStyle>
            <a:lvl1pPr marL="163396" indent="-163396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700"/>
            </a:lvl1pPr>
          </a:lstStyle>
          <a:p>
            <a:pPr lvl="0"/>
            <a:r>
              <a:rPr lang="en-GB" noProof="0" dirty="0" smtClean="0"/>
              <a:t>Click to add note(s)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8929624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63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283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32" y="6039437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79646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489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50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80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829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80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10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80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327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80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1149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616" y="294387"/>
            <a:ext cx="9238948" cy="54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0025" y="1782763"/>
            <a:ext cx="9507538" cy="4684712"/>
          </a:xfrm>
        </p:spPr>
        <p:txBody>
          <a:bodyPr/>
          <a:lstStyle>
            <a:lvl1pPr marL="355600" indent="-355600">
              <a:buClrTx/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1pPr>
            <a:lvl2pPr marL="534988" indent="-179388">
              <a:buClrTx/>
              <a:defRPr>
                <a:solidFill>
                  <a:schemeClr val="tx1"/>
                </a:solidFill>
              </a:defRPr>
            </a:lvl2pPr>
            <a:lvl3pPr marL="712788" indent="-177800">
              <a:buClrTx/>
              <a:defRPr>
                <a:solidFill>
                  <a:schemeClr val="tx1"/>
                </a:solidFill>
              </a:defRPr>
            </a:lvl3pPr>
            <a:lvl4pPr marL="903288" indent="-190500">
              <a:buClrTx/>
              <a:defRPr>
                <a:solidFill>
                  <a:schemeClr val="tx1"/>
                </a:solidFill>
              </a:defRPr>
            </a:lvl4pPr>
            <a:lvl5pPr marL="1081088" indent="-177800"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9905998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37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72" y="6039511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6838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57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57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57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57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3713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162594"/>
      </p:ext>
    </p:extLst>
  </p:cSld>
  <p:clrMapOvr>
    <a:masterClrMapping/>
  </p:clrMapOvr>
  <p:hf sldNum="0" hd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65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285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33" y="6039438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06841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56" y="1229293"/>
            <a:ext cx="8790278" cy="1641475"/>
          </a:xfrm>
        </p:spPr>
        <p:txBody>
          <a:bodyPr/>
          <a:lstStyle>
            <a:lvl4pPr marL="652378" indent="-161295">
              <a:buFont typeface="Arial" pitchFamily="34" charset="0"/>
              <a:buChar char="–"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999967"/>
      </p:ext>
    </p:extLst>
  </p:cSld>
  <p:clrMapOvr>
    <a:masterClrMapping/>
  </p:clrMapOvr>
  <p:hf hd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550505" y="294389"/>
            <a:ext cx="8804996" cy="68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63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171695" y="6404080"/>
            <a:ext cx="2183809" cy="172951"/>
          </a:xfrm>
        </p:spPr>
        <p:txBody>
          <a:bodyPr wrap="square" lIns="0" tIns="0" rIns="0" bIns="0" anchor="ctr">
            <a:noAutofit/>
          </a:bodyPr>
          <a:lstStyle>
            <a:lvl1pPr algn="r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40675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506" y="479495"/>
            <a:ext cx="8804996" cy="276999"/>
          </a:xfrm>
        </p:spPr>
        <p:txBody>
          <a:bodyPr bIns="0">
            <a:spAutoFit/>
          </a:bodyPr>
          <a:lstStyle>
            <a:lvl1pPr>
              <a:tabLst>
                <a:tab pos="328562" algn="l"/>
              </a:tabLst>
              <a:defRPr baseline="0"/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5414" y="6527830"/>
            <a:ext cx="3136193" cy="174717"/>
          </a:xfrm>
        </p:spPr>
        <p:txBody>
          <a:bodyPr/>
          <a:lstStyle>
            <a:lvl1pPr algn="r">
              <a:defRPr sz="1100"/>
            </a:lvl1pPr>
          </a:lstStyle>
          <a:p>
            <a:pPr>
              <a:buClr>
                <a:srgbClr val="FF0000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502" y="153805"/>
            <a:ext cx="8800448" cy="276999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161400" indent="-161400">
              <a:buNone/>
              <a:tabLst/>
              <a:defRPr b="1" i="1" baseline="0">
                <a:latin typeface="+mn-lt"/>
              </a:defRPr>
            </a:lvl1pPr>
            <a:lvl2pPr>
              <a:defRPr b="1" i="1">
                <a:latin typeface="+mn-lt"/>
              </a:defRPr>
            </a:lvl2pPr>
            <a:lvl3pPr>
              <a:defRPr b="1" i="1">
                <a:latin typeface="+mn-lt"/>
              </a:defRPr>
            </a:lvl3pPr>
            <a:lvl4pPr>
              <a:defRPr b="1" i="1">
                <a:latin typeface="+mn-lt"/>
              </a:defRPr>
            </a:lvl4pPr>
            <a:lvl5pPr>
              <a:defRPr b="1" i="1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503" y="6222668"/>
            <a:ext cx="8794381" cy="140720"/>
          </a:xfrm>
        </p:spPr>
        <p:txBody>
          <a:bodyPr tIns="32679"/>
          <a:lstStyle>
            <a:lvl1pPr marL="163396" indent="-163396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700"/>
            </a:lvl1pPr>
          </a:lstStyle>
          <a:p>
            <a:pPr lvl="0"/>
            <a:r>
              <a:rPr lang="en-GB" noProof="0" dirty="0" smtClean="0"/>
              <a:t>Click to add note(s)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2318519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59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279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29" y="6039433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17836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487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5288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78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9180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78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58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7886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78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7287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78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0345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57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57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57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57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662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148732"/>
      </p:ext>
    </p:extLst>
  </p:cSld>
  <p:clrMapOvr>
    <a:masterClrMapping/>
  </p:clrMapOvr>
  <p:hf sldNum="0" hdr="0" dt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2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39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259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19" y="6039413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59141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476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6773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67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8232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67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011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67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7448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4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67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05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9905998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386" y="2042464"/>
            <a:ext cx="4523671" cy="334800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351102"/>
      </p:ext>
    </p:extLst>
  </p:cSld>
  <p:clrMapOvr>
    <a:masterClrMapping/>
  </p:clrMapOvr>
  <p:hf sldNum="0" hdr="0" dt="0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55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55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55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552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8476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2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85733"/>
      </p:ext>
    </p:extLst>
  </p:cSld>
  <p:clrMapOvr>
    <a:masterClrMapping/>
  </p:clrMapOvr>
  <p:hf sldNum="0" hdr="0" dt="0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2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17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237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07" y="6039391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59141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464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6773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55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8232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55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011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55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7448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4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55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05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53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53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53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53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8476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2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85733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50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02"/>
            <a:ext cx="2228850" cy="365125"/>
          </a:xfrm>
          <a:prstGeom prst="rect">
            <a:avLst/>
          </a:prstGeom>
        </p:spPr>
        <p:txBody>
          <a:bodyPr/>
          <a:lstStyle/>
          <a:p>
            <a:fld id="{F5012AD0-7A07-4466-A6BE-E4CA735896E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9492500"/>
      </p:ext>
    </p:extLst>
  </p:cSld>
  <p:clrMapOvr>
    <a:masterClrMapping/>
  </p:clrMapOvr>
  <p:hf sldNum="0" hdr="0" dt="0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88" y="4998191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211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393" y="6039365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83619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45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5028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1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6903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1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4288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1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7903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1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3160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50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50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50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504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4651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094917"/>
      </p:ext>
    </p:extLst>
  </p:cSld>
  <p:clrMapOvr>
    <a:masterClrMapping/>
  </p:clrMapOvr>
  <p:hf sldNum="0" hdr="0" dt="0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5"/>
          <p:cNvSpPr>
            <a:spLocks noChangeArrowheads="1"/>
          </p:cNvSpPr>
          <p:nvPr/>
        </p:nvSpPr>
        <p:spPr bwMode="auto">
          <a:xfrm>
            <a:off x="0" y="0"/>
            <a:ext cx="9906000" cy="38369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4339" rIns="0" bIns="0" anchor="ctr"/>
          <a:lstStyle/>
          <a:p>
            <a:pPr eaLnBrk="1" hangingPunct="1">
              <a:spcBef>
                <a:spcPct val="20000"/>
              </a:spcBef>
              <a:buClr>
                <a:srgbClr val="FF0000"/>
              </a:buClr>
              <a:buFont typeface="Wingdings 3" pitchFamily="18" charset="2"/>
              <a:buChar char="}"/>
            </a:pPr>
            <a:endParaRPr lang="en-US" sz="16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 Box 23"/>
          <p:cNvSpPr txBox="1">
            <a:spLocks noChangeArrowheads="1"/>
          </p:cNvSpPr>
          <p:nvPr/>
        </p:nvSpPr>
        <p:spPr bwMode="auto">
          <a:xfrm>
            <a:off x="703396" y="6499225"/>
            <a:ext cx="6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175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175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175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175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20000"/>
              </a:spcBef>
              <a:buClr>
                <a:srgbClr val="FF0000"/>
              </a:buClr>
              <a:buFont typeface="Wingdings 3" pitchFamily="18" charset="2"/>
              <a:buNone/>
            </a:pPr>
            <a:endParaRPr lang="en-GB" sz="1000" b="0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/>
        </p:nvSpPr>
        <p:spPr bwMode="auto">
          <a:xfrm>
            <a:off x="9596438" y="0"/>
            <a:ext cx="137583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379" tIns="45189" rIns="90379" bIns="45189" anchor="ctr"/>
          <a:lstStyle/>
          <a:p>
            <a:pPr defTabSz="903288" eaLnBrk="1" hangingPunct="1">
              <a:spcBef>
                <a:spcPct val="50000"/>
              </a:spcBef>
              <a:buClr>
                <a:srgbClr val="FF0000"/>
              </a:buClr>
              <a:buFont typeface="Wingdings 3" pitchFamily="18" charset="2"/>
              <a:buChar char="}"/>
            </a:pPr>
            <a:endParaRPr lang="en-US" sz="600" b="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6"/>
          <p:cNvSpPr>
            <a:spLocks noChangeArrowheads="1"/>
          </p:cNvSpPr>
          <p:nvPr/>
        </p:nvSpPr>
        <p:spPr bwMode="gray">
          <a:xfrm rot="16200000">
            <a:off x="9527116" y="5819247"/>
            <a:ext cx="296863" cy="158221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0379" tIns="45189" rIns="90379" bIns="45189" anchor="ctr"/>
          <a:lstStyle/>
          <a:p>
            <a:pPr defTabSz="847725" eaLnBrk="1" hangingPunct="1">
              <a:spcBef>
                <a:spcPct val="50000"/>
              </a:spcBef>
              <a:buClr>
                <a:srgbClr val="FF0000"/>
              </a:buClr>
              <a:buFont typeface="Wingdings 3" pitchFamily="18" charset="2"/>
              <a:buChar char="}"/>
            </a:pPr>
            <a:endParaRPr lang="en-US" sz="600" b="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189" y="5759450"/>
            <a:ext cx="162520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688506" y="4110896"/>
            <a:ext cx="8419797" cy="476124"/>
          </a:xfrm>
        </p:spPr>
        <p:txBody>
          <a:bodyPr bIns="0"/>
          <a:lstStyle>
            <a:lvl1pPr>
              <a:lnSpc>
                <a:spcPct val="100000"/>
              </a:lnSpc>
              <a:defRPr sz="2700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88506" y="4587024"/>
            <a:ext cx="6933593" cy="477627"/>
          </a:xfrm>
          <a:prstGeom prst="rect">
            <a:avLst/>
          </a:prstGeom>
        </p:spPr>
        <p:txBody>
          <a:bodyPr lIns="91395" tIns="0" rIns="91395" bIns="45697"/>
          <a:lstStyle>
            <a:lvl1pPr marL="0" indent="0">
              <a:buClrTx/>
              <a:buFontTx/>
              <a:buNone/>
              <a:defRPr sz="2500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212004"/>
      </p:ext>
    </p:extLst>
  </p:cSld>
  <p:clrMapOvr>
    <a:masterClrMapping/>
  </p:clrMapOvr>
  <p:hf hdr="0" dt="0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14505" y="1249644"/>
            <a:ext cx="6740994" cy="4973027"/>
          </a:xfrm>
          <a:prstGeom prst="rect">
            <a:avLst/>
          </a:prstGeom>
        </p:spPr>
        <p:txBody>
          <a:bodyPr lIns="91395" tIns="45697" rIns="91395" bIns="45697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644075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2527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buFont typeface="Univers 45 Light" pitchFamily="34" charset="0"/>
              <a:buNone/>
              <a:defRPr b="0">
                <a:latin typeface="Calibri" pitchFamily="34" charset="0"/>
              </a:defRPr>
            </a:lvl1pPr>
          </a:lstStyle>
          <a:p>
            <a:pPr>
              <a:buClr>
                <a:srgbClr val="194173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6141260"/>
      </p:ext>
    </p:extLst>
  </p:cSld>
  <p:clrMapOvr>
    <a:masterClrMapping/>
  </p:clrMapOvr>
  <p:hf sldNum="0" hdr="0" dt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52" y="4169476"/>
            <a:ext cx="8043696" cy="1288691"/>
          </a:xfr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7652" y="2750110"/>
            <a:ext cx="8043696" cy="1419362"/>
          </a:xfrm>
          <a:prstGeom prst="rect">
            <a:avLst/>
          </a:prstGeom>
        </p:spPr>
        <p:txBody>
          <a:bodyPr lIns="91395" tIns="45697" rIns="91395" bIns="45697" anchor="b"/>
          <a:lstStyle>
            <a:lvl1pPr marL="0" indent="0">
              <a:buNone/>
              <a:defRPr sz="1800"/>
            </a:lvl1pPr>
            <a:lvl2pPr marL="415027" indent="0">
              <a:buNone/>
              <a:defRPr sz="1600"/>
            </a:lvl2pPr>
            <a:lvl3pPr marL="830053" indent="0">
              <a:buNone/>
              <a:defRPr sz="1500"/>
            </a:lvl3pPr>
            <a:lvl4pPr marL="1245080" indent="0">
              <a:buNone/>
              <a:defRPr sz="1300"/>
            </a:lvl4pPr>
            <a:lvl5pPr marL="1660106" indent="0">
              <a:buNone/>
              <a:defRPr sz="1300"/>
            </a:lvl5pPr>
            <a:lvl6pPr marL="2075132" indent="0">
              <a:buNone/>
              <a:defRPr sz="1300"/>
            </a:lvl6pPr>
            <a:lvl7pPr marL="2490159" indent="0">
              <a:buNone/>
              <a:defRPr sz="1300"/>
            </a:lvl7pPr>
            <a:lvl8pPr marL="2905186" indent="0">
              <a:buNone/>
              <a:defRPr sz="1300"/>
            </a:lvl8pPr>
            <a:lvl9pPr marL="3320212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337543"/>
      </p:ext>
    </p:extLst>
  </p:cSld>
  <p:clrMapOvr>
    <a:masterClrMapping/>
  </p:clrMapOvr>
  <p:hf hdr="0" dt="0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65976" y="1611618"/>
            <a:ext cx="3048234" cy="1470429"/>
          </a:xfrm>
          <a:prstGeom prst="rect">
            <a:avLst/>
          </a:prstGeom>
        </p:spPr>
        <p:txBody>
          <a:bodyPr lIns="91395" tIns="45697" rIns="91395" bIns="45697"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59796" y="1611618"/>
            <a:ext cx="3048234" cy="1470429"/>
          </a:xfrm>
          <a:prstGeom prst="rect">
            <a:avLst/>
          </a:prstGeom>
        </p:spPr>
        <p:txBody>
          <a:bodyPr lIns="91395" tIns="45697" rIns="91395" bIns="45697"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733023"/>
      </p:ext>
    </p:extLst>
  </p:cSld>
  <p:clrMapOvr>
    <a:masterClrMapping/>
  </p:clrMapOvr>
  <p:hf hdr="0" dt="0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159" y="259844"/>
            <a:ext cx="8516855" cy="10814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160" y="1452406"/>
            <a:ext cx="4181085" cy="605294"/>
          </a:xfrm>
          <a:prstGeom prst="rect">
            <a:avLst/>
          </a:prstGeom>
        </p:spPr>
        <p:txBody>
          <a:bodyPr lIns="91395" tIns="45697" rIns="91395" bIns="45697" anchor="b"/>
          <a:lstStyle>
            <a:lvl1pPr marL="0" indent="0">
              <a:buNone/>
              <a:defRPr sz="2200" b="1"/>
            </a:lvl1pPr>
            <a:lvl2pPr marL="415027" indent="0">
              <a:buNone/>
              <a:defRPr sz="1800" b="1"/>
            </a:lvl2pPr>
            <a:lvl3pPr marL="830053" indent="0">
              <a:buNone/>
              <a:defRPr sz="1600" b="1"/>
            </a:lvl3pPr>
            <a:lvl4pPr marL="1245080" indent="0">
              <a:buNone/>
              <a:defRPr sz="1500" b="1"/>
            </a:lvl4pPr>
            <a:lvl5pPr marL="1660106" indent="0">
              <a:buNone/>
              <a:defRPr sz="1500" b="1"/>
            </a:lvl5pPr>
            <a:lvl6pPr marL="2075132" indent="0">
              <a:buNone/>
              <a:defRPr sz="1500" b="1"/>
            </a:lvl6pPr>
            <a:lvl7pPr marL="2490159" indent="0">
              <a:buNone/>
              <a:defRPr sz="1500" b="1"/>
            </a:lvl7pPr>
            <a:lvl8pPr marL="2905186" indent="0">
              <a:buNone/>
              <a:defRPr sz="1500" b="1"/>
            </a:lvl8pPr>
            <a:lvl9pPr marL="3320212" indent="0">
              <a:buNone/>
              <a:defRPr sz="15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160" y="2057704"/>
            <a:ext cx="4181085" cy="3738407"/>
          </a:xfrm>
          <a:prstGeom prst="rect">
            <a:avLst/>
          </a:prstGeom>
        </p:spPr>
        <p:txBody>
          <a:bodyPr lIns="91395" tIns="45697" rIns="91395" bIns="45697"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7413" y="1452406"/>
            <a:ext cx="4182601" cy="605294"/>
          </a:xfrm>
          <a:prstGeom prst="rect">
            <a:avLst/>
          </a:prstGeom>
        </p:spPr>
        <p:txBody>
          <a:bodyPr lIns="91395" tIns="45697" rIns="91395" bIns="45697" anchor="b"/>
          <a:lstStyle>
            <a:lvl1pPr marL="0" indent="0">
              <a:buNone/>
              <a:defRPr sz="2200" b="1"/>
            </a:lvl1pPr>
            <a:lvl2pPr marL="415027" indent="0">
              <a:buNone/>
              <a:defRPr sz="1800" b="1"/>
            </a:lvl2pPr>
            <a:lvl3pPr marL="830053" indent="0">
              <a:buNone/>
              <a:defRPr sz="1600" b="1"/>
            </a:lvl3pPr>
            <a:lvl4pPr marL="1245080" indent="0">
              <a:buNone/>
              <a:defRPr sz="1500" b="1"/>
            </a:lvl4pPr>
            <a:lvl5pPr marL="1660106" indent="0">
              <a:buNone/>
              <a:defRPr sz="1500" b="1"/>
            </a:lvl5pPr>
            <a:lvl6pPr marL="2075132" indent="0">
              <a:buNone/>
              <a:defRPr sz="1500" b="1"/>
            </a:lvl6pPr>
            <a:lvl7pPr marL="2490159" indent="0">
              <a:buNone/>
              <a:defRPr sz="1500" b="1"/>
            </a:lvl7pPr>
            <a:lvl8pPr marL="2905186" indent="0">
              <a:buNone/>
              <a:defRPr sz="1500" b="1"/>
            </a:lvl8pPr>
            <a:lvl9pPr marL="3320212" indent="0">
              <a:buNone/>
              <a:defRPr sz="15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07413" y="2057704"/>
            <a:ext cx="4182601" cy="3738407"/>
          </a:xfrm>
          <a:prstGeom prst="rect">
            <a:avLst/>
          </a:prstGeom>
        </p:spPr>
        <p:txBody>
          <a:bodyPr lIns="91395" tIns="45697" rIns="91395" bIns="45697"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881183"/>
      </p:ext>
    </p:extLst>
  </p:cSld>
  <p:clrMapOvr>
    <a:masterClrMapping/>
  </p:clrMapOvr>
  <p:hf hdr="0" dt="0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13068"/>
      </p:ext>
    </p:extLst>
  </p:cSld>
  <p:clrMapOvr>
    <a:masterClrMapping/>
  </p:clrMapOvr>
  <p:hf hdr="0" dt="0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642586"/>
      </p:ext>
    </p:extLst>
  </p:cSld>
  <p:clrMapOvr>
    <a:masterClrMapping/>
  </p:clrMapOvr>
  <p:hf hdr="0" dt="0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96343"/>
      </p:ext>
    </p:extLst>
  </p:cSld>
  <p:clrMapOvr>
    <a:masterClrMapping/>
  </p:clrMapOvr>
  <p:hf hdr="0" dt="0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161" y="258343"/>
            <a:ext cx="3113445" cy="1099443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0343" y="258339"/>
            <a:ext cx="5289671" cy="5537768"/>
          </a:xfrm>
          <a:prstGeom prst="rect">
            <a:avLst/>
          </a:prstGeom>
        </p:spPr>
        <p:txBody>
          <a:bodyPr lIns="91395" tIns="45697" rIns="91395" bIns="45697"/>
          <a:lstStyle>
            <a:lvl1pPr>
              <a:defRPr sz="2900"/>
            </a:lvl1pPr>
            <a:lvl2pPr>
              <a:defRPr sz="25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3161" y="1357786"/>
            <a:ext cx="3113445" cy="4438325"/>
          </a:xfrm>
          <a:prstGeom prst="rect">
            <a:avLst/>
          </a:prstGeom>
        </p:spPr>
        <p:txBody>
          <a:bodyPr lIns="91395" tIns="45697" rIns="91395" bIns="45697"/>
          <a:lstStyle>
            <a:lvl1pPr marL="0" indent="0">
              <a:buNone/>
              <a:defRPr sz="1300"/>
            </a:lvl1pPr>
            <a:lvl2pPr marL="415027" indent="0">
              <a:buNone/>
              <a:defRPr sz="1100"/>
            </a:lvl2pPr>
            <a:lvl3pPr marL="830053" indent="0">
              <a:buNone/>
              <a:defRPr sz="900"/>
            </a:lvl3pPr>
            <a:lvl4pPr marL="1245080" indent="0">
              <a:buNone/>
              <a:defRPr sz="800"/>
            </a:lvl4pPr>
            <a:lvl5pPr marL="1660106" indent="0">
              <a:buNone/>
              <a:defRPr sz="800"/>
            </a:lvl5pPr>
            <a:lvl6pPr marL="2075132" indent="0">
              <a:buNone/>
              <a:defRPr sz="800"/>
            </a:lvl6pPr>
            <a:lvl7pPr marL="2490159" indent="0">
              <a:buNone/>
              <a:defRPr sz="800"/>
            </a:lvl7pPr>
            <a:lvl8pPr marL="2905186" indent="0">
              <a:buNone/>
              <a:defRPr sz="800"/>
            </a:lvl8pPr>
            <a:lvl9pPr marL="3320212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21368"/>
      </p:ext>
    </p:extLst>
  </p:cSld>
  <p:clrMapOvr>
    <a:masterClrMapping/>
  </p:clrMapOvr>
  <p:hf hdr="0" dt="0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4726" y="4541961"/>
            <a:ext cx="5677903" cy="536204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54726" y="579765"/>
            <a:ext cx="5677903" cy="3893109"/>
          </a:xfrm>
          <a:prstGeom prst="rect">
            <a:avLst/>
          </a:prstGeom>
        </p:spPr>
        <p:txBody>
          <a:bodyPr lIns="91395" tIns="0" rIns="91395" bIns="45697"/>
          <a:lstStyle>
            <a:lvl1pPr marL="0" indent="0">
              <a:buNone/>
              <a:defRPr sz="2900"/>
            </a:lvl1pPr>
            <a:lvl2pPr marL="415027" indent="0">
              <a:buNone/>
              <a:defRPr sz="2500"/>
            </a:lvl2pPr>
            <a:lvl3pPr marL="830053" indent="0">
              <a:buNone/>
              <a:defRPr sz="2200"/>
            </a:lvl3pPr>
            <a:lvl4pPr marL="1245080" indent="0">
              <a:buNone/>
              <a:defRPr sz="1800"/>
            </a:lvl4pPr>
            <a:lvl5pPr marL="1660106" indent="0">
              <a:buNone/>
              <a:defRPr sz="1800"/>
            </a:lvl5pPr>
            <a:lvl6pPr marL="2075132" indent="0">
              <a:buNone/>
              <a:defRPr sz="1800"/>
            </a:lvl6pPr>
            <a:lvl7pPr marL="2490159" indent="0">
              <a:buNone/>
              <a:defRPr sz="1800"/>
            </a:lvl7pPr>
            <a:lvl8pPr marL="2905186" indent="0">
              <a:buNone/>
              <a:defRPr sz="1800"/>
            </a:lvl8pPr>
            <a:lvl9pPr marL="3320212" indent="0">
              <a:buNone/>
              <a:defRPr sz="18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54726" y="5078169"/>
            <a:ext cx="5677903" cy="761499"/>
          </a:xfrm>
          <a:prstGeom prst="rect">
            <a:avLst/>
          </a:prstGeom>
        </p:spPr>
        <p:txBody>
          <a:bodyPr lIns="91395" tIns="45697" rIns="91395" bIns="45697"/>
          <a:lstStyle>
            <a:lvl1pPr marL="0" indent="0">
              <a:buNone/>
              <a:defRPr sz="1300"/>
            </a:lvl1pPr>
            <a:lvl2pPr marL="415027" indent="0">
              <a:buNone/>
              <a:defRPr sz="1100"/>
            </a:lvl2pPr>
            <a:lvl3pPr marL="830053" indent="0">
              <a:buNone/>
              <a:defRPr sz="900"/>
            </a:lvl3pPr>
            <a:lvl4pPr marL="1245080" indent="0">
              <a:buNone/>
              <a:defRPr sz="800"/>
            </a:lvl4pPr>
            <a:lvl5pPr marL="1660106" indent="0">
              <a:buNone/>
              <a:defRPr sz="800"/>
            </a:lvl5pPr>
            <a:lvl6pPr marL="2075132" indent="0">
              <a:buNone/>
              <a:defRPr sz="800"/>
            </a:lvl6pPr>
            <a:lvl7pPr marL="2490159" indent="0">
              <a:buNone/>
              <a:defRPr sz="800"/>
            </a:lvl7pPr>
            <a:lvl8pPr marL="2905186" indent="0">
              <a:buNone/>
              <a:defRPr sz="800"/>
            </a:lvl8pPr>
            <a:lvl9pPr marL="3320212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214312"/>
      </p:ext>
    </p:extLst>
  </p:cSld>
  <p:clrMapOvr>
    <a:masterClrMapping/>
  </p:clrMapOvr>
  <p:hf hdr="0" dt="0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614505" y="1249644"/>
            <a:ext cx="6740994" cy="4973027"/>
          </a:xfrm>
          <a:prstGeom prst="rect">
            <a:avLst/>
          </a:prstGeom>
        </p:spPr>
        <p:txBody>
          <a:bodyPr vert="eaVert" lIns="91395" tIns="45697" rIns="91395" bIns="45697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962571"/>
      </p:ext>
    </p:extLst>
  </p:cSld>
  <p:clrMapOvr>
    <a:masterClrMapping/>
  </p:clrMapOvr>
  <p:hf hdr="0" dt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8246" y="608299"/>
            <a:ext cx="2092817" cy="247374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9795" y="608299"/>
            <a:ext cx="6132864" cy="2473746"/>
          </a:xfrm>
          <a:prstGeom prst="rect">
            <a:avLst/>
          </a:prstGeom>
        </p:spPr>
        <p:txBody>
          <a:bodyPr vert="eaVert" lIns="91395" tIns="45697" rIns="91395" bIns="45697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42229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583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31648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 lIns="91395" tIns="45697" rIns="91395" bIns="45697"/>
          <a:lstStyle>
            <a:lvl1pPr marL="0" indent="0" algn="ctr">
              <a:buFontTx/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130288"/>
      </p:ext>
    </p:extLst>
  </p:cSld>
  <p:clrMapOvr>
    <a:masterClrMapping/>
  </p:clrMapOvr>
  <p:hf hdr="0" dt="0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189" y="1747840"/>
            <a:ext cx="8767762" cy="1566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040300"/>
      </p:ext>
    </p:extLst>
  </p:cSld>
  <p:clrMapOvr>
    <a:masterClrMapping/>
  </p:clrMapOvr>
  <p:hf hdr="0" dt="0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503238"/>
            <a:ext cx="8915400" cy="7159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95300" y="13716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  <a:endParaRPr lang="en-GB" noProof="0" dirty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71475" y="66770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-1898650" y="66389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l" eaLnBrk="1" hangingPunct="1">
              <a:defRPr/>
            </a:pPr>
            <a:fld id="{034064D6-9ED0-41D7-95E0-F5391B88B85A}" type="slidenum">
              <a:rPr lang="en-US" sz="1600" b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algn="l" eaLnBrk="1" hangingPunct="1">
                <a:defRPr/>
              </a:pPr>
              <a:t>‹#›</a:t>
            </a:fld>
            <a:endParaRPr lang="en-US" sz="16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760683"/>
      </p:ext>
    </p:extLst>
  </p:cSld>
  <p:clrMapOvr>
    <a:masterClrMapping/>
  </p:clrMapOvr>
  <p:hf hdr="0" dt="0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90"/>
          <p:cNvSpPr>
            <a:spLocks noChangeShapeType="1"/>
          </p:cNvSpPr>
          <p:nvPr/>
        </p:nvSpPr>
        <p:spPr bwMode="auto">
          <a:xfrm>
            <a:off x="276887" y="1022350"/>
            <a:ext cx="9338469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1" hangingPunct="1"/>
            <a:endParaRPr lang="en-GB" sz="1600" b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506"/>
          <a:stretch>
            <a:fillRect/>
          </a:stretch>
        </p:blipFill>
        <p:spPr bwMode="auto">
          <a:xfrm>
            <a:off x="199496" y="136525"/>
            <a:ext cx="1286404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49" name="Rectangle 77"/>
          <p:cNvSpPr>
            <a:spLocks noGrp="1" noChangeArrowheads="1"/>
          </p:cNvSpPr>
          <p:nvPr>
            <p:ph type="ctrTitle"/>
          </p:nvPr>
        </p:nvSpPr>
        <p:spPr>
          <a:xfrm>
            <a:off x="151342" y="1428751"/>
            <a:ext cx="9493250" cy="1585913"/>
          </a:xfrm>
        </p:spPr>
        <p:txBody>
          <a:bodyPr anchor="b"/>
          <a:lstStyle>
            <a:lvl1pPr>
              <a:defRPr sz="3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777309"/>
      </p:ext>
    </p:extLst>
  </p:cSld>
  <p:clrMapOvr>
    <a:masterClrMapping/>
  </p:clrMapOvr>
  <p:hf sldNum="0" hdr="0" dt="0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3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34"/>
            <a:ext cx="8900276" cy="40011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26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7" y="5388355"/>
            <a:ext cx="6430723" cy="3125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031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70" y="6039509"/>
            <a:ext cx="1455527" cy="375231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219" b="1" baseline="0"/>
            </a:lvl1pPr>
            <a:lvl2pPr marL="0" indent="0">
              <a:spcBef>
                <a:spcPts val="0"/>
              </a:spcBef>
              <a:buNone/>
              <a:defRPr sz="1219" baseline="0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81285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1" y="1484317"/>
            <a:ext cx="4172215" cy="2016695"/>
          </a:xfrm>
        </p:spPr>
        <p:txBody>
          <a:bodyPr>
            <a:normAutofit/>
          </a:bodyPr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27" y="1484317"/>
            <a:ext cx="4172215" cy="2016695"/>
          </a:xfrm>
        </p:spPr>
        <p:txBody>
          <a:bodyPr>
            <a:normAutofit/>
          </a:bodyPr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52863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8"/>
            <a:ext cx="8891323" cy="13308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9535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8"/>
            <a:ext cx="8891323" cy="13308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1995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8"/>
            <a:ext cx="8891323" cy="13308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9259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5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8"/>
            <a:ext cx="8891323" cy="133081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837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73291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3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5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5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5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5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4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4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4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4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2127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3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2" y="2042464"/>
            <a:ext cx="4523671" cy="334800"/>
          </a:xfrm>
        </p:spPr>
        <p:txBody>
          <a:bodyPr>
            <a:noAutofit/>
          </a:bodyPr>
          <a:lstStyle>
            <a:lvl1pPr algn="r">
              <a:defRPr sz="325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581772"/>
      </p:ext>
    </p:extLst>
  </p:cSld>
  <p:clrMapOvr>
    <a:masterClrMapping/>
  </p:clrMapOvr>
  <p:hf sldNum="0" hdr="0" dt="0"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550505" y="294391"/>
            <a:ext cx="8804996" cy="68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63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171696" y="6404152"/>
            <a:ext cx="2183809" cy="172951"/>
          </a:xfrm>
        </p:spPr>
        <p:txBody>
          <a:bodyPr wrap="square" lIns="0" tIns="0" rIns="0" bIns="0" anchor="ctr">
            <a:noAutofit/>
          </a:bodyPr>
          <a:lstStyle>
            <a:lvl1pPr algn="r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31926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506" y="531434"/>
            <a:ext cx="8804996" cy="225062"/>
          </a:xfrm>
        </p:spPr>
        <p:txBody>
          <a:bodyPr bIns="0">
            <a:spAutoFit/>
          </a:bodyPr>
          <a:lstStyle>
            <a:lvl1pPr>
              <a:tabLst>
                <a:tab pos="266957" algn="l"/>
              </a:tabLst>
              <a:defRPr baseline="0"/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5452" y="6527902"/>
            <a:ext cx="3136193" cy="174717"/>
          </a:xfrm>
        </p:spPr>
        <p:txBody>
          <a:bodyPr/>
          <a:lstStyle>
            <a:lvl1pPr algn="r">
              <a:defRPr sz="894"/>
            </a:lvl1pPr>
          </a:lstStyle>
          <a:p>
            <a:pPr>
              <a:buClr>
                <a:srgbClr val="FF0000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503" y="205680"/>
            <a:ext cx="8800448" cy="225126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131138" indent="-131138">
              <a:buNone/>
              <a:tabLst/>
              <a:defRPr b="1" i="1" baseline="0">
                <a:latin typeface="+mn-lt"/>
              </a:defRPr>
            </a:lvl1pPr>
            <a:lvl2pPr>
              <a:defRPr b="1" i="1">
                <a:latin typeface="+mn-lt"/>
              </a:defRPr>
            </a:lvl2pPr>
            <a:lvl3pPr>
              <a:defRPr b="1" i="1">
                <a:latin typeface="+mn-lt"/>
              </a:defRPr>
            </a:lvl3pPr>
            <a:lvl4pPr>
              <a:defRPr b="1" i="1">
                <a:latin typeface="+mn-lt"/>
              </a:defRPr>
            </a:lvl4pPr>
            <a:lvl5pPr>
              <a:defRPr b="1" i="1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504" y="6222668"/>
            <a:ext cx="8794381" cy="120586"/>
          </a:xfrm>
        </p:spPr>
        <p:txBody>
          <a:bodyPr tIns="32679"/>
          <a:lstStyle>
            <a:lvl1pPr marL="132759" indent="-132759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569"/>
            </a:lvl1pPr>
          </a:lstStyle>
          <a:p>
            <a:pPr lvl="0"/>
            <a:r>
              <a:rPr lang="en-GB" noProof="0" dirty="0" smtClean="0"/>
              <a:t>Click to add note(s)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935342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4"/>
          <p:cNvGrpSpPr>
            <a:grpSpLocks/>
          </p:cNvGrpSpPr>
          <p:nvPr userDrawn="1"/>
        </p:nvGrpSpPr>
        <p:grpSpPr bwMode="auto">
          <a:xfrm>
            <a:off x="0" y="2"/>
            <a:ext cx="9906000" cy="3837537"/>
            <a:chOff x="0" y="0"/>
            <a:chExt cx="6532" cy="2555"/>
          </a:xfrm>
        </p:grpSpPr>
        <p:pic>
          <p:nvPicPr>
            <p:cNvPr id="5" name="Picture 52" descr="Picture1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532" cy="2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 Box 49"/>
            <p:cNvSpPr txBox="1">
              <a:spLocks noChangeArrowheads="1"/>
            </p:cNvSpPr>
            <p:nvPr userDrawn="1"/>
          </p:nvSpPr>
          <p:spPr bwMode="auto">
            <a:xfrm>
              <a:off x="3674" y="2374"/>
              <a:ext cx="122" cy="117"/>
            </a:xfrm>
            <a:prstGeom prst="rect">
              <a:avLst/>
            </a:prstGeom>
            <a:solidFill>
              <a:srgbClr val="A5A6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538" b="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7" name="Rectangle 82"/>
          <p:cNvSpPr>
            <a:spLocks noChangeArrowheads="1"/>
          </p:cNvSpPr>
          <p:nvPr userDrawn="1"/>
        </p:nvSpPr>
        <p:spPr bwMode="auto">
          <a:xfrm>
            <a:off x="9596628" y="0"/>
            <a:ext cx="138005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6536" tIns="38269" rIns="76536" bIns="38269" anchor="ctr"/>
          <a:lstStyle>
            <a:lvl1pPr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538" i="1" dirty="0">
              <a:solidFill>
                <a:srgbClr val="000000"/>
              </a:solidFill>
            </a:endParaRPr>
          </a:p>
        </p:txBody>
      </p:sp>
      <p:sp>
        <p:nvSpPr>
          <p:cNvPr id="8" name="AutoShape 26"/>
          <p:cNvSpPr>
            <a:spLocks noChangeArrowheads="1"/>
          </p:cNvSpPr>
          <p:nvPr userDrawn="1"/>
        </p:nvSpPr>
        <p:spPr bwMode="gray">
          <a:xfrm rot="16200000">
            <a:off x="9526792" y="5819382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76536" tIns="38269" rIns="76536" bIns="38269" anchor="ctr"/>
          <a:lstStyle>
            <a:lvl1pPr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538" b="0" i="1" dirty="0">
              <a:solidFill>
                <a:srgbClr val="000000"/>
              </a:solidFill>
            </a:endParaRPr>
          </a:p>
        </p:txBody>
      </p:sp>
      <p:pic>
        <p:nvPicPr>
          <p:cNvPr id="9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827" y="5760060"/>
            <a:ext cx="1621175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688507" y="4110896"/>
            <a:ext cx="8419797" cy="476124"/>
          </a:xfrm>
        </p:spPr>
        <p:txBody>
          <a:bodyPr bIns="0"/>
          <a:lstStyle>
            <a:lvl1pPr>
              <a:lnSpc>
                <a:spcPct val="100000"/>
              </a:lnSpc>
              <a:defRPr sz="2306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88508" y="4587020"/>
            <a:ext cx="6933593" cy="331181"/>
          </a:xfrm>
        </p:spPr>
        <p:txBody>
          <a:bodyPr tIns="0"/>
          <a:lstStyle>
            <a:lvl1pPr marL="0" indent="0">
              <a:spcBef>
                <a:spcPct val="0"/>
              </a:spcBef>
              <a:buClrTx/>
              <a:buFontTx/>
              <a:buNone/>
              <a:defRPr sz="2152" smtClean="0"/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10" name="Rectangle 56"/>
          <p:cNvSpPr>
            <a:spLocks noGrp="1" noChangeArrowheads="1"/>
          </p:cNvSpPr>
          <p:nvPr>
            <p:ph type="ftr" sz="quarter" idx="10"/>
          </p:nvPr>
        </p:nvSpPr>
        <p:spPr>
          <a:xfrm>
            <a:off x="686990" y="6404407"/>
            <a:ext cx="0" cy="160711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452452"/>
      </p:ext>
    </p:extLst>
  </p:cSld>
  <p:clrMapOvr>
    <a:masterClrMapping/>
  </p:clrMapOvr>
  <p:hf sldNum="0" hdr="0" dt="0"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3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34"/>
            <a:ext cx="8900276" cy="40011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26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7" y="5388355"/>
            <a:ext cx="6430723" cy="3125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031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70" y="6039509"/>
            <a:ext cx="1455527" cy="375231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219" b="1" baseline="0"/>
            </a:lvl1pPr>
            <a:lvl2pPr marL="0" indent="0">
              <a:spcBef>
                <a:spcPts val="0"/>
              </a:spcBef>
              <a:buNone/>
              <a:defRPr sz="1219" baseline="0"/>
            </a:lvl2pPr>
            <a:lvl3pPr>
              <a:defRPr sz="1219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66525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1" y="1484317"/>
            <a:ext cx="4172215" cy="2016695"/>
          </a:xfrm>
        </p:spPr>
        <p:txBody>
          <a:bodyPr>
            <a:normAutofit/>
          </a:bodyPr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27" y="1484317"/>
            <a:ext cx="4172215" cy="2016695"/>
          </a:xfrm>
        </p:spPr>
        <p:txBody>
          <a:bodyPr>
            <a:normAutofit/>
          </a:bodyPr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36233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8"/>
            <a:ext cx="8891323" cy="13308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4773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8"/>
            <a:ext cx="8891323" cy="13308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118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8"/>
            <a:ext cx="8891323" cy="13308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0017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7058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95584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5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18"/>
            <a:ext cx="8891323" cy="133081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9647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3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5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5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5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5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4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4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4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4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63"/>
            </a:lvl1pPr>
            <a:lvl2pPr marL="0" indent="0">
              <a:spcBef>
                <a:spcPts val="0"/>
              </a:spcBef>
              <a:buNone/>
              <a:defRPr sz="975" b="1">
                <a:solidFill>
                  <a:schemeClr val="tx2"/>
                </a:solidFill>
              </a:defRPr>
            </a:lvl2pPr>
            <a:lvl3pPr marL="1290" indent="0">
              <a:spcBef>
                <a:spcPts val="0"/>
              </a:spcBef>
              <a:buFont typeface="Arial" panose="020B0604020202020204" pitchFamily="34" charset="0"/>
              <a:buNone/>
              <a:defRPr sz="975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975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4237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3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2" y="2042464"/>
            <a:ext cx="4523671" cy="334800"/>
          </a:xfrm>
        </p:spPr>
        <p:txBody>
          <a:bodyPr>
            <a:noAutofit/>
          </a:bodyPr>
          <a:lstStyle>
            <a:lvl1pPr algn="r">
              <a:defRPr sz="325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333687"/>
      </p:ext>
    </p:extLst>
  </p:cSld>
  <p:clrMapOvr>
    <a:masterClrMapping/>
  </p:clrMapOvr>
  <p:hf sldNum="0" hdr="0" dt="0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550505" y="294391"/>
            <a:ext cx="8804996" cy="68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63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171696" y="6404152"/>
            <a:ext cx="2183809" cy="172951"/>
          </a:xfrm>
        </p:spPr>
        <p:txBody>
          <a:bodyPr wrap="square" lIns="0" tIns="0" rIns="0" bIns="0" anchor="ctr">
            <a:noAutofit/>
          </a:bodyPr>
          <a:lstStyle>
            <a:lvl1pPr algn="r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10203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506" y="531434"/>
            <a:ext cx="8804996" cy="225062"/>
          </a:xfrm>
        </p:spPr>
        <p:txBody>
          <a:bodyPr bIns="0">
            <a:spAutoFit/>
          </a:bodyPr>
          <a:lstStyle>
            <a:lvl1pPr>
              <a:tabLst>
                <a:tab pos="266957" algn="l"/>
              </a:tabLst>
              <a:defRPr baseline="0"/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5452" y="6527902"/>
            <a:ext cx="3136193" cy="174717"/>
          </a:xfrm>
        </p:spPr>
        <p:txBody>
          <a:bodyPr/>
          <a:lstStyle>
            <a:lvl1pPr algn="r">
              <a:defRPr sz="894"/>
            </a:lvl1pPr>
          </a:lstStyle>
          <a:p>
            <a:pPr>
              <a:buClr>
                <a:srgbClr val="FF0000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503" y="205680"/>
            <a:ext cx="8800448" cy="225126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131138" indent="-131138">
              <a:buNone/>
              <a:tabLst/>
              <a:defRPr b="1" i="1" baseline="0">
                <a:latin typeface="+mn-lt"/>
              </a:defRPr>
            </a:lvl1pPr>
            <a:lvl2pPr>
              <a:defRPr b="1" i="1">
                <a:latin typeface="+mn-lt"/>
              </a:defRPr>
            </a:lvl2pPr>
            <a:lvl3pPr>
              <a:defRPr b="1" i="1">
                <a:latin typeface="+mn-lt"/>
              </a:defRPr>
            </a:lvl3pPr>
            <a:lvl4pPr>
              <a:defRPr b="1" i="1">
                <a:latin typeface="+mn-lt"/>
              </a:defRPr>
            </a:lvl4pPr>
            <a:lvl5pPr>
              <a:defRPr b="1" i="1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504" y="6222668"/>
            <a:ext cx="8794381" cy="120586"/>
          </a:xfrm>
        </p:spPr>
        <p:txBody>
          <a:bodyPr tIns="32679"/>
          <a:lstStyle>
            <a:lvl1pPr marL="132759" indent="-132759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569"/>
            </a:lvl1pPr>
          </a:lstStyle>
          <a:p>
            <a:pPr lvl="0"/>
            <a:r>
              <a:rPr lang="en-GB" noProof="0" dirty="0" smtClean="0"/>
              <a:t>Click to add note(s)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9632224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4"/>
          <p:cNvGrpSpPr>
            <a:grpSpLocks/>
          </p:cNvGrpSpPr>
          <p:nvPr userDrawn="1"/>
        </p:nvGrpSpPr>
        <p:grpSpPr bwMode="auto">
          <a:xfrm>
            <a:off x="0" y="2"/>
            <a:ext cx="9906000" cy="3837537"/>
            <a:chOff x="0" y="0"/>
            <a:chExt cx="6532" cy="2555"/>
          </a:xfrm>
        </p:grpSpPr>
        <p:pic>
          <p:nvPicPr>
            <p:cNvPr id="5" name="Picture 52" descr="Picture1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532" cy="2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 Box 49"/>
            <p:cNvSpPr txBox="1">
              <a:spLocks noChangeArrowheads="1"/>
            </p:cNvSpPr>
            <p:nvPr userDrawn="1"/>
          </p:nvSpPr>
          <p:spPr bwMode="auto">
            <a:xfrm>
              <a:off x="3674" y="2374"/>
              <a:ext cx="122" cy="117"/>
            </a:xfrm>
            <a:prstGeom prst="rect">
              <a:avLst/>
            </a:prstGeom>
            <a:solidFill>
              <a:srgbClr val="A5A6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538" b="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7" name="Rectangle 82"/>
          <p:cNvSpPr>
            <a:spLocks noChangeArrowheads="1"/>
          </p:cNvSpPr>
          <p:nvPr userDrawn="1"/>
        </p:nvSpPr>
        <p:spPr bwMode="auto">
          <a:xfrm>
            <a:off x="9596628" y="0"/>
            <a:ext cx="138005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6536" tIns="38269" rIns="76536" bIns="38269" anchor="ctr"/>
          <a:lstStyle>
            <a:lvl1pPr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538" i="1" dirty="0">
              <a:solidFill>
                <a:srgbClr val="000000"/>
              </a:solidFill>
            </a:endParaRPr>
          </a:p>
        </p:txBody>
      </p:sp>
      <p:sp>
        <p:nvSpPr>
          <p:cNvPr id="8" name="AutoShape 26"/>
          <p:cNvSpPr>
            <a:spLocks noChangeArrowheads="1"/>
          </p:cNvSpPr>
          <p:nvPr userDrawn="1"/>
        </p:nvSpPr>
        <p:spPr bwMode="gray">
          <a:xfrm rot="16200000">
            <a:off x="9526792" y="5819382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76536" tIns="38269" rIns="76536" bIns="38269" anchor="ctr"/>
          <a:lstStyle>
            <a:lvl1pPr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538" b="0" i="1" dirty="0">
              <a:solidFill>
                <a:srgbClr val="000000"/>
              </a:solidFill>
            </a:endParaRPr>
          </a:p>
        </p:txBody>
      </p:sp>
      <p:pic>
        <p:nvPicPr>
          <p:cNvPr id="9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827" y="5760060"/>
            <a:ext cx="1621175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688507" y="4110896"/>
            <a:ext cx="8419797" cy="476124"/>
          </a:xfrm>
        </p:spPr>
        <p:txBody>
          <a:bodyPr bIns="0"/>
          <a:lstStyle>
            <a:lvl1pPr>
              <a:lnSpc>
                <a:spcPct val="100000"/>
              </a:lnSpc>
              <a:defRPr sz="2306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88508" y="4587020"/>
            <a:ext cx="6933593" cy="331181"/>
          </a:xfrm>
        </p:spPr>
        <p:txBody>
          <a:bodyPr tIns="0"/>
          <a:lstStyle>
            <a:lvl1pPr marL="0" indent="0">
              <a:spcBef>
                <a:spcPct val="0"/>
              </a:spcBef>
              <a:buClrTx/>
              <a:buFontTx/>
              <a:buNone/>
              <a:defRPr sz="2152" smtClean="0"/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10" name="Rectangle 56"/>
          <p:cNvSpPr>
            <a:spLocks noGrp="1" noChangeArrowheads="1"/>
          </p:cNvSpPr>
          <p:nvPr>
            <p:ph type="ftr" sz="quarter" idx="10"/>
          </p:nvPr>
        </p:nvSpPr>
        <p:spPr>
          <a:xfrm>
            <a:off x="686990" y="6404407"/>
            <a:ext cx="0" cy="160711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534630"/>
      </p:ext>
    </p:extLst>
  </p:cSld>
  <p:clrMapOvr>
    <a:masterClrMapping/>
  </p:clrMapOvr>
  <p:hf sldNum="0" hdr="0" dt="0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4"/>
          <p:cNvGrpSpPr>
            <a:grpSpLocks/>
          </p:cNvGrpSpPr>
          <p:nvPr userDrawn="1"/>
        </p:nvGrpSpPr>
        <p:grpSpPr bwMode="auto">
          <a:xfrm>
            <a:off x="0" y="0"/>
            <a:ext cx="9906000" cy="3837537"/>
            <a:chOff x="0" y="0"/>
            <a:chExt cx="6532" cy="2555"/>
          </a:xfrm>
        </p:grpSpPr>
        <p:pic>
          <p:nvPicPr>
            <p:cNvPr id="5" name="Picture 52" descr="Picture1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35"/>
            <a:stretch>
              <a:fillRect/>
            </a:stretch>
          </p:blipFill>
          <p:spPr bwMode="auto">
            <a:xfrm>
              <a:off x="0" y="0"/>
              <a:ext cx="6532" cy="2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 Box 49"/>
            <p:cNvSpPr txBox="1">
              <a:spLocks noChangeArrowheads="1"/>
            </p:cNvSpPr>
            <p:nvPr userDrawn="1"/>
          </p:nvSpPr>
          <p:spPr bwMode="auto">
            <a:xfrm>
              <a:off x="1312" y="2374"/>
              <a:ext cx="4847" cy="129"/>
            </a:xfrm>
            <a:prstGeom prst="rect">
              <a:avLst/>
            </a:prstGeom>
            <a:solidFill>
              <a:srgbClr val="A5A6A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defRPr/>
              </a:pPr>
              <a:r>
                <a:rPr lang="en-GB" sz="662" b="0" smtClean="0">
                  <a:solidFill>
                    <a:srgbClr val="FFFFFF"/>
                  </a:solidFill>
                </a:rPr>
                <a:t>SAMPLE IMAGE – MAY BE REPLACED WITH OTHER IMAGERY (must be from approved source – eg iStock, Shutterstock or approved HSBC imagery) OR DELETED – ON MASTER SLIDE</a:t>
              </a:r>
            </a:p>
          </p:txBody>
        </p:sp>
      </p:grpSp>
      <p:sp>
        <p:nvSpPr>
          <p:cNvPr id="7" name="Rectangle 82"/>
          <p:cNvSpPr>
            <a:spLocks noChangeArrowheads="1"/>
          </p:cNvSpPr>
          <p:nvPr userDrawn="1"/>
        </p:nvSpPr>
        <p:spPr bwMode="auto">
          <a:xfrm>
            <a:off x="9596628" y="0"/>
            <a:ext cx="138005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98" tIns="47100" rIns="94198" bIns="47100" anchor="ctr"/>
          <a:lstStyle/>
          <a:p>
            <a:pPr defTabSz="941713">
              <a:spcBef>
                <a:spcPct val="50000"/>
              </a:spcBef>
            </a:pPr>
            <a:endParaRPr lang="en-US" sz="662" i="1">
              <a:solidFill>
                <a:srgbClr val="000000"/>
              </a:solidFill>
            </a:endParaRPr>
          </a:p>
        </p:txBody>
      </p:sp>
      <p:sp>
        <p:nvSpPr>
          <p:cNvPr id="8" name="AutoShape 26"/>
          <p:cNvSpPr>
            <a:spLocks noChangeArrowheads="1"/>
          </p:cNvSpPr>
          <p:nvPr userDrawn="1"/>
        </p:nvSpPr>
        <p:spPr bwMode="gray">
          <a:xfrm rot="16200000">
            <a:off x="9526792" y="5819381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4198" tIns="47100" rIns="94198" bIns="47100" anchor="ctr"/>
          <a:lstStyle/>
          <a:p>
            <a:pPr defTabSz="884639">
              <a:spcBef>
                <a:spcPct val="50000"/>
              </a:spcBef>
            </a:pPr>
            <a:endParaRPr lang="en-US" sz="662" b="0" i="1">
              <a:solidFill>
                <a:srgbClr val="000000"/>
              </a:solidFill>
            </a:endParaRPr>
          </a:p>
        </p:txBody>
      </p:sp>
      <p:pic>
        <p:nvPicPr>
          <p:cNvPr id="9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827" y="5760060"/>
            <a:ext cx="1621175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688506" y="4110896"/>
            <a:ext cx="8419797" cy="476124"/>
          </a:xfrm>
        </p:spPr>
        <p:txBody>
          <a:bodyPr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88507" y="4587020"/>
            <a:ext cx="6933593" cy="477627"/>
          </a:xfrm>
          <a:prstGeom prst="rect">
            <a:avLst/>
          </a:prstGeom>
        </p:spPr>
        <p:txBody>
          <a:bodyPr tIns="0"/>
          <a:lstStyle>
            <a:lvl1pPr marL="0" indent="0">
              <a:spcBef>
                <a:spcPct val="0"/>
              </a:spcBef>
              <a:buClrTx/>
              <a:buFontTx/>
              <a:buNone/>
              <a:defRPr sz="1892" smtClean="0"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4147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44314" y="976282"/>
            <a:ext cx="8801963" cy="5109706"/>
          </a:xfrm>
          <a:prstGeom prst="rect">
            <a:avLst/>
          </a:prstGeom>
        </p:spPr>
        <p:txBody>
          <a:bodyPr/>
          <a:lstStyle>
            <a:lvl1pPr>
              <a:defRPr sz="1325"/>
            </a:lvl1pPr>
            <a:lvl2pPr>
              <a:defRPr sz="1135"/>
            </a:lvl2pPr>
            <a:lvl3pPr>
              <a:defRPr sz="1041"/>
            </a:lvl3pPr>
            <a:lvl4pPr>
              <a:defRPr sz="851"/>
            </a:lvl4pPr>
            <a:lvl5pPr>
              <a:defRPr sz="104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6"/>
          <p:cNvSpPr>
            <a:spLocks noChangeShapeType="1"/>
          </p:cNvSpPr>
          <p:nvPr userDrawn="1"/>
        </p:nvSpPr>
        <p:spPr bwMode="auto">
          <a:xfrm>
            <a:off x="547409" y="976281"/>
            <a:ext cx="8804996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 eaLnBrk="1" hangingPunct="1"/>
            <a:endParaRPr lang="en-GB" sz="1135">
              <a:solidFill>
                <a:srgbClr val="00000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30608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Line 6"/>
          <p:cNvSpPr>
            <a:spLocks noChangeShapeType="1"/>
          </p:cNvSpPr>
          <p:nvPr userDrawn="1"/>
        </p:nvSpPr>
        <p:spPr bwMode="auto">
          <a:xfrm>
            <a:off x="547409" y="976281"/>
            <a:ext cx="8804996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 eaLnBrk="1" hangingPunct="1"/>
            <a:endParaRPr lang="en-GB" sz="1135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0147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2"/>
          <p:cNvSpPr>
            <a:spLocks noChangeArrowheads="1"/>
          </p:cNvSpPr>
          <p:nvPr userDrawn="1"/>
        </p:nvSpPr>
        <p:spPr bwMode="auto">
          <a:xfrm>
            <a:off x="9596628" y="0"/>
            <a:ext cx="138005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98" tIns="47100" rIns="94198" bIns="47100" anchor="ctr"/>
          <a:lstStyle/>
          <a:p>
            <a:pPr defTabSz="941713">
              <a:spcBef>
                <a:spcPct val="50000"/>
              </a:spcBef>
            </a:pPr>
            <a:endParaRPr lang="en-US" sz="662" i="1">
              <a:solidFill>
                <a:srgbClr val="000000"/>
              </a:solidFill>
            </a:endParaRPr>
          </a:p>
        </p:txBody>
      </p:sp>
      <p:sp>
        <p:nvSpPr>
          <p:cNvPr id="5" name="AutoShape 27"/>
          <p:cNvSpPr>
            <a:spLocks noChangeArrowheads="1"/>
          </p:cNvSpPr>
          <p:nvPr userDrawn="1"/>
        </p:nvSpPr>
        <p:spPr bwMode="gray">
          <a:xfrm rot="16200000">
            <a:off x="9526792" y="5819381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4198" tIns="47100" rIns="94198" bIns="47100" anchor="ctr"/>
          <a:lstStyle/>
          <a:p>
            <a:pPr defTabSz="884639">
              <a:spcBef>
                <a:spcPct val="50000"/>
              </a:spcBef>
            </a:pPr>
            <a:endParaRPr lang="en-US" sz="662" b="0" i="1">
              <a:solidFill>
                <a:srgbClr val="000000"/>
              </a:solidFill>
            </a:endParaRPr>
          </a:p>
        </p:txBody>
      </p:sp>
      <p:sp>
        <p:nvSpPr>
          <p:cNvPr id="405551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88506" y="2747106"/>
            <a:ext cx="8419797" cy="410038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bIns="0" anchor="b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7434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6704" y="1257300"/>
            <a:ext cx="4605338" cy="5168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38" y="1257300"/>
            <a:ext cx="4605337" cy="5168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47471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2"/>
          <p:cNvGrpSpPr>
            <a:grpSpLocks/>
          </p:cNvGrpSpPr>
          <p:nvPr userDrawn="1"/>
        </p:nvGrpSpPr>
        <p:grpSpPr bwMode="auto">
          <a:xfrm>
            <a:off x="0" y="3429001"/>
            <a:ext cx="9906000" cy="2044182"/>
            <a:chOff x="0" y="2283"/>
            <a:chExt cx="6532" cy="1361"/>
          </a:xfrm>
        </p:grpSpPr>
        <p:sp>
          <p:nvSpPr>
            <p:cNvPr id="4" name="Rectangle 50"/>
            <p:cNvSpPr>
              <a:spLocks noChangeArrowheads="1"/>
            </p:cNvSpPr>
            <p:nvPr userDrawn="1"/>
          </p:nvSpPr>
          <p:spPr bwMode="auto">
            <a:xfrm>
              <a:off x="0" y="2283"/>
              <a:ext cx="6532" cy="136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 lIns="0" tIns="37829" rIns="0" bIns="0" anchor="ctr"/>
            <a:lstStyle/>
            <a:p>
              <a:pPr>
                <a:defRPr/>
              </a:pPr>
              <a:endParaRPr lang="en-US" sz="1135" dirty="0">
                <a:solidFill>
                  <a:srgbClr val="000000"/>
                </a:solidFill>
              </a:endParaRPr>
            </a:p>
          </p:txBody>
        </p:sp>
        <p:sp>
          <p:nvSpPr>
            <p:cNvPr id="5" name="Text Box 51"/>
            <p:cNvSpPr txBox="1">
              <a:spLocks noChangeArrowheads="1"/>
            </p:cNvSpPr>
            <p:nvPr userDrawn="1"/>
          </p:nvSpPr>
          <p:spPr bwMode="auto">
            <a:xfrm>
              <a:off x="1162" y="2374"/>
              <a:ext cx="4988" cy="129"/>
            </a:xfrm>
            <a:prstGeom prst="rect">
              <a:avLst/>
            </a:prstGeom>
            <a:solidFill>
              <a:srgbClr val="A5A6A9"/>
            </a:solidFill>
            <a:ln>
              <a:noFill/>
            </a:ln>
            <a:effectLst/>
            <a:extLst/>
          </p:spPr>
          <p:txBody>
            <a:bodyPr wrap="none">
              <a:spAutoFit/>
            </a:bodyPr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defRPr/>
              </a:pPr>
              <a:r>
                <a:rPr lang="en-GB" sz="662" b="0" dirty="0" smtClean="0">
                  <a:solidFill>
                    <a:srgbClr val="FFFFFF"/>
                  </a:solidFill>
                </a:rPr>
                <a:t>IMAGE AREA –IMAGERY MAY BE INSERTED HERE (must be from approved source – </a:t>
              </a:r>
              <a:r>
                <a:rPr lang="en-GB" sz="662" b="0" dirty="0" err="1" smtClean="0">
                  <a:solidFill>
                    <a:srgbClr val="FFFFFF"/>
                  </a:solidFill>
                </a:rPr>
                <a:t>eg</a:t>
              </a:r>
              <a:r>
                <a:rPr lang="en-GB" sz="662" b="0" dirty="0" smtClean="0">
                  <a:solidFill>
                    <a:srgbClr val="FFFFFF"/>
                  </a:solidFill>
                </a:rPr>
                <a:t> </a:t>
              </a:r>
              <a:r>
                <a:rPr lang="en-GB" sz="662" b="0" dirty="0" err="1" smtClean="0">
                  <a:solidFill>
                    <a:srgbClr val="FFFFFF"/>
                  </a:solidFill>
                </a:rPr>
                <a:t>iStock</a:t>
              </a:r>
              <a:r>
                <a:rPr lang="en-GB" sz="662" b="0" dirty="0" smtClean="0">
                  <a:solidFill>
                    <a:srgbClr val="FFFFFF"/>
                  </a:solidFill>
                </a:rPr>
                <a:t>, </a:t>
              </a:r>
              <a:r>
                <a:rPr lang="en-GB" sz="662" b="0" dirty="0" err="1" smtClean="0">
                  <a:solidFill>
                    <a:srgbClr val="FFFFFF"/>
                  </a:solidFill>
                </a:rPr>
                <a:t>Shutterstock</a:t>
              </a:r>
              <a:r>
                <a:rPr lang="en-GB" sz="662" b="0" dirty="0" smtClean="0">
                  <a:solidFill>
                    <a:srgbClr val="FFFFFF"/>
                  </a:solidFill>
                </a:rPr>
                <a:t> or approved HSBC imagery) OR GREY AREA DELETED AND LEFT BLANK WHITE</a:t>
              </a:r>
            </a:p>
          </p:txBody>
        </p:sp>
      </p:grpSp>
      <p:sp>
        <p:nvSpPr>
          <p:cNvPr id="6" name="Text Box 23"/>
          <p:cNvSpPr txBox="1">
            <a:spLocks noChangeArrowheads="1"/>
          </p:cNvSpPr>
          <p:nvPr userDrawn="1"/>
        </p:nvSpPr>
        <p:spPr bwMode="auto">
          <a:xfrm>
            <a:off x="703673" y="6497669"/>
            <a:ext cx="1396216" cy="2911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ctr">
            <a:spAutoFit/>
          </a:bodyPr>
          <a:lstStyle>
            <a:lvl1pPr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81013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60438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41450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20875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780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352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924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496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>
              <a:spcBef>
                <a:spcPct val="0"/>
              </a:spcBef>
              <a:defRPr/>
            </a:pPr>
            <a:r>
              <a:rPr lang="en-GB" sz="1041" i="0" smtClean="0">
                <a:solidFill>
                  <a:srgbClr val="A5A6A9"/>
                </a:solidFill>
              </a:rPr>
              <a:t>HIGHLY RESTRICTED</a:t>
            </a:r>
          </a:p>
          <a:p>
            <a:pPr algn="l">
              <a:spcBef>
                <a:spcPct val="0"/>
              </a:spcBef>
              <a:defRPr/>
            </a:pPr>
            <a:r>
              <a:rPr lang="en-GB" sz="851" b="0" i="0" smtClean="0">
                <a:solidFill>
                  <a:srgbClr val="A5A6A9"/>
                </a:solidFill>
              </a:rPr>
              <a:t>(amend as appropriate)</a:t>
            </a:r>
            <a:endParaRPr lang="en-GB" sz="1041" i="0" smtClean="0">
              <a:solidFill>
                <a:srgbClr val="A5A6A9"/>
              </a:solidFill>
            </a:endParaRPr>
          </a:p>
        </p:txBody>
      </p:sp>
      <p:sp>
        <p:nvSpPr>
          <p:cNvPr id="7" name="Rectangle 82"/>
          <p:cNvSpPr>
            <a:spLocks noChangeArrowheads="1"/>
          </p:cNvSpPr>
          <p:nvPr userDrawn="1"/>
        </p:nvSpPr>
        <p:spPr bwMode="auto">
          <a:xfrm>
            <a:off x="9596631" y="0"/>
            <a:ext cx="138005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none" lIns="92638" tIns="46321" rIns="92638" bIns="46321" anchor="ctr"/>
          <a:lstStyle/>
          <a:p>
            <a:pPr defTabSz="924740">
              <a:spcBef>
                <a:spcPct val="50000"/>
              </a:spcBef>
              <a:defRPr/>
            </a:pPr>
            <a:endParaRPr lang="en-US" sz="662" i="1">
              <a:solidFill>
                <a:srgbClr val="000000"/>
              </a:solidFill>
            </a:endParaRPr>
          </a:p>
        </p:txBody>
      </p:sp>
      <p:sp>
        <p:nvSpPr>
          <p:cNvPr id="8" name="AutoShape 27"/>
          <p:cNvSpPr>
            <a:spLocks noChangeArrowheads="1"/>
          </p:cNvSpPr>
          <p:nvPr userDrawn="1"/>
        </p:nvSpPr>
        <p:spPr bwMode="gray">
          <a:xfrm rot="16200000">
            <a:off x="9526793" y="5819381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eaVert" wrap="none" lIns="92638" tIns="46321" rIns="92638" bIns="46321" anchor="ctr"/>
          <a:lstStyle/>
          <a:p>
            <a:pPr defTabSz="869196">
              <a:spcBef>
                <a:spcPct val="50000"/>
              </a:spcBef>
              <a:defRPr/>
            </a:pPr>
            <a:endParaRPr lang="en-US" sz="662" b="0" i="1">
              <a:solidFill>
                <a:srgbClr val="000000"/>
              </a:solidFill>
            </a:endParaRPr>
          </a:p>
        </p:txBody>
      </p:sp>
      <p:pic>
        <p:nvPicPr>
          <p:cNvPr id="9" name="Picture 45" descr="HSBC Hexagon_logo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688830" y="5760063"/>
            <a:ext cx="1625724" cy="28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5551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88506" y="2747113"/>
            <a:ext cx="8419797" cy="410038"/>
          </a:xfrm>
          <a:extLst/>
        </p:spPr>
        <p:txBody>
          <a:bodyPr bIns="0" anchor="b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576617"/>
      </p:ext>
    </p:extLst>
  </p:cSld>
  <p:clrMapOvr>
    <a:masterClrMapping/>
  </p:clrMapOvr>
  <p:hf sldNum="0" hdr="0" dt="0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9738" y="2015748"/>
            <a:ext cx="8043696" cy="1390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9476" y="3676825"/>
            <a:ext cx="6624220" cy="1658176"/>
          </a:xfrm>
        </p:spPr>
        <p:txBody>
          <a:bodyPr/>
          <a:lstStyle>
            <a:lvl1pPr marL="0" indent="0" algn="ctr">
              <a:buNone/>
              <a:defRPr/>
            </a:lvl1pPr>
            <a:lvl2pPr marL="425437" indent="0" algn="ctr">
              <a:buNone/>
              <a:defRPr/>
            </a:lvl2pPr>
            <a:lvl3pPr marL="850883" indent="0" algn="ctr">
              <a:buNone/>
              <a:defRPr/>
            </a:lvl3pPr>
            <a:lvl4pPr marL="1276327" indent="0" algn="ctr">
              <a:buNone/>
              <a:defRPr/>
            </a:lvl4pPr>
            <a:lvl5pPr marL="1701760" indent="0" algn="ctr">
              <a:buNone/>
              <a:defRPr/>
            </a:lvl5pPr>
            <a:lvl6pPr marL="2127202" indent="0" algn="ctr">
              <a:buNone/>
              <a:defRPr/>
            </a:lvl6pPr>
            <a:lvl7pPr marL="2552645" indent="0" algn="ctr">
              <a:buNone/>
              <a:defRPr/>
            </a:lvl7pPr>
            <a:lvl8pPr marL="2978087" indent="0" algn="ctr">
              <a:buNone/>
              <a:defRPr/>
            </a:lvl8pPr>
            <a:lvl9pPr marL="3403518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953581"/>
      </p:ext>
    </p:extLst>
  </p:cSld>
  <p:clrMapOvr>
    <a:masterClrMapping/>
  </p:clrMapOvr>
  <p:hf sldNum="0" hdr="0" dt="0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174609"/>
      </p:ext>
    </p:extLst>
  </p:cSld>
  <p:clrMapOvr>
    <a:masterClrMapping/>
  </p:clrMapOvr>
  <p:hf sldNum="0" hdr="0" dt="0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52" y="4169574"/>
            <a:ext cx="8043696" cy="1288691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7652" y="2750110"/>
            <a:ext cx="8043696" cy="1419362"/>
          </a:xfrm>
        </p:spPr>
        <p:txBody>
          <a:bodyPr anchor="b"/>
          <a:lstStyle>
            <a:lvl1pPr marL="0" indent="0">
              <a:buNone/>
              <a:defRPr sz="1892"/>
            </a:lvl1pPr>
            <a:lvl2pPr marL="425437" indent="0">
              <a:buNone/>
              <a:defRPr sz="1703"/>
            </a:lvl2pPr>
            <a:lvl3pPr marL="850883" indent="0">
              <a:buNone/>
              <a:defRPr sz="1608"/>
            </a:lvl3pPr>
            <a:lvl4pPr marL="1276327" indent="0">
              <a:buNone/>
              <a:defRPr sz="1325"/>
            </a:lvl4pPr>
            <a:lvl5pPr marL="1701760" indent="0">
              <a:buNone/>
              <a:defRPr sz="1325"/>
            </a:lvl5pPr>
            <a:lvl6pPr marL="2127202" indent="0">
              <a:buNone/>
              <a:defRPr sz="1325"/>
            </a:lvl6pPr>
            <a:lvl7pPr marL="2552645" indent="0">
              <a:buNone/>
              <a:defRPr sz="1325"/>
            </a:lvl7pPr>
            <a:lvl8pPr marL="2978087" indent="0">
              <a:buNone/>
              <a:defRPr sz="1325"/>
            </a:lvl8pPr>
            <a:lvl9pPr marL="3403518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283093"/>
      </p:ext>
    </p:extLst>
  </p:cSld>
  <p:clrMapOvr>
    <a:masterClrMapping/>
  </p:clrMapOvr>
  <p:hf sldNum="0" hdr="0" dt="0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312" y="1632745"/>
            <a:ext cx="4111324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8223" y="1632745"/>
            <a:ext cx="4112840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383397"/>
      </p:ext>
    </p:extLst>
  </p:cSld>
  <p:clrMapOvr>
    <a:masterClrMapping/>
  </p:clrMapOvr>
  <p:hf sldNum="0" hdr="0" dt="0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159" y="259843"/>
            <a:ext cx="8516855" cy="10814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160" y="1452406"/>
            <a:ext cx="4181085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25437" indent="0">
              <a:buNone/>
              <a:defRPr sz="1892" b="1"/>
            </a:lvl2pPr>
            <a:lvl3pPr marL="850883" indent="0">
              <a:buNone/>
              <a:defRPr sz="1703" b="1"/>
            </a:lvl3pPr>
            <a:lvl4pPr marL="1276327" indent="0">
              <a:buNone/>
              <a:defRPr sz="1608" b="1"/>
            </a:lvl4pPr>
            <a:lvl5pPr marL="1701760" indent="0">
              <a:buNone/>
              <a:defRPr sz="1608" b="1"/>
            </a:lvl5pPr>
            <a:lvl6pPr marL="2127202" indent="0">
              <a:buNone/>
              <a:defRPr sz="1608" b="1"/>
            </a:lvl6pPr>
            <a:lvl7pPr marL="2552645" indent="0">
              <a:buNone/>
              <a:defRPr sz="1608" b="1"/>
            </a:lvl7pPr>
            <a:lvl8pPr marL="2978087" indent="0">
              <a:buNone/>
              <a:defRPr sz="1608" b="1"/>
            </a:lvl8pPr>
            <a:lvl9pPr marL="3403518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160" y="2057802"/>
            <a:ext cx="4181085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7413" y="1452406"/>
            <a:ext cx="4182601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25437" indent="0">
              <a:buNone/>
              <a:defRPr sz="1892" b="1"/>
            </a:lvl2pPr>
            <a:lvl3pPr marL="850883" indent="0">
              <a:buNone/>
              <a:defRPr sz="1703" b="1"/>
            </a:lvl3pPr>
            <a:lvl4pPr marL="1276327" indent="0">
              <a:buNone/>
              <a:defRPr sz="1608" b="1"/>
            </a:lvl4pPr>
            <a:lvl5pPr marL="1701760" indent="0">
              <a:buNone/>
              <a:defRPr sz="1608" b="1"/>
            </a:lvl5pPr>
            <a:lvl6pPr marL="2127202" indent="0">
              <a:buNone/>
              <a:defRPr sz="1608" b="1"/>
            </a:lvl6pPr>
            <a:lvl7pPr marL="2552645" indent="0">
              <a:buNone/>
              <a:defRPr sz="1608" b="1"/>
            </a:lvl7pPr>
            <a:lvl8pPr marL="2978087" indent="0">
              <a:buNone/>
              <a:defRPr sz="1608" b="1"/>
            </a:lvl8pPr>
            <a:lvl9pPr marL="3403518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07413" y="2057802"/>
            <a:ext cx="4182601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373994"/>
      </p:ext>
    </p:extLst>
  </p:cSld>
  <p:clrMapOvr>
    <a:masterClrMapping/>
  </p:clrMapOvr>
  <p:hf sldNum="0" hdr="0" dt="0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757379"/>
      </p:ext>
    </p:extLst>
  </p:cSld>
  <p:clrMapOvr>
    <a:masterClrMapping/>
  </p:clrMapOvr>
  <p:hf sldNum="0" hdr="0" dt="0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298968"/>
      </p:ext>
    </p:extLst>
  </p:cSld>
  <p:clrMapOvr>
    <a:masterClrMapping/>
  </p:clrMapOvr>
  <p:hf sldNum="0" hdr="0" dt="0"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161" y="258347"/>
            <a:ext cx="3113445" cy="1099443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0343" y="258339"/>
            <a:ext cx="5289671" cy="5537768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3161" y="1357797"/>
            <a:ext cx="3113445" cy="4438325"/>
          </a:xfrm>
        </p:spPr>
        <p:txBody>
          <a:bodyPr/>
          <a:lstStyle>
            <a:lvl1pPr marL="0" indent="0">
              <a:buNone/>
              <a:defRPr sz="1325"/>
            </a:lvl1pPr>
            <a:lvl2pPr marL="425437" indent="0">
              <a:buNone/>
              <a:defRPr sz="1135"/>
            </a:lvl2pPr>
            <a:lvl3pPr marL="850883" indent="0">
              <a:buNone/>
              <a:defRPr sz="946"/>
            </a:lvl3pPr>
            <a:lvl4pPr marL="1276327" indent="0">
              <a:buNone/>
              <a:defRPr sz="851"/>
            </a:lvl4pPr>
            <a:lvl5pPr marL="1701760" indent="0">
              <a:buNone/>
              <a:defRPr sz="851"/>
            </a:lvl5pPr>
            <a:lvl6pPr marL="2127202" indent="0">
              <a:buNone/>
              <a:defRPr sz="851"/>
            </a:lvl6pPr>
            <a:lvl7pPr marL="2552645" indent="0">
              <a:buNone/>
              <a:defRPr sz="851"/>
            </a:lvl7pPr>
            <a:lvl8pPr marL="2978087" indent="0">
              <a:buNone/>
              <a:defRPr sz="851"/>
            </a:lvl8pPr>
            <a:lvl9pPr marL="3403518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216947"/>
      </p:ext>
    </p:extLst>
  </p:cSld>
  <p:clrMapOvr>
    <a:masterClrMapping/>
  </p:clrMapOvr>
  <p:hf sldNum="0" hdr="0" dt="0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4833" y="4541961"/>
            <a:ext cx="5677902" cy="536204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54833" y="579767"/>
            <a:ext cx="5677902" cy="3893109"/>
          </a:xfrm>
        </p:spPr>
        <p:txBody>
          <a:bodyPr tIns="0"/>
          <a:lstStyle>
            <a:lvl1pPr marL="0" indent="0">
              <a:buNone/>
              <a:defRPr sz="3028"/>
            </a:lvl1pPr>
            <a:lvl2pPr marL="425437" indent="0">
              <a:buNone/>
              <a:defRPr sz="2649"/>
            </a:lvl2pPr>
            <a:lvl3pPr marL="850883" indent="0">
              <a:buNone/>
              <a:defRPr sz="2271"/>
            </a:lvl3pPr>
            <a:lvl4pPr marL="1276327" indent="0">
              <a:buNone/>
              <a:defRPr sz="1892"/>
            </a:lvl4pPr>
            <a:lvl5pPr marL="1701760" indent="0">
              <a:buNone/>
              <a:defRPr sz="1892"/>
            </a:lvl5pPr>
            <a:lvl6pPr marL="2127202" indent="0">
              <a:buNone/>
              <a:defRPr sz="1892"/>
            </a:lvl6pPr>
            <a:lvl7pPr marL="2552645" indent="0">
              <a:buNone/>
              <a:defRPr sz="1892"/>
            </a:lvl7pPr>
            <a:lvl8pPr marL="2978087" indent="0">
              <a:buNone/>
              <a:defRPr sz="1892"/>
            </a:lvl8pPr>
            <a:lvl9pPr marL="3403518" indent="0">
              <a:buNone/>
              <a:defRPr sz="1892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54833" y="5078168"/>
            <a:ext cx="5677902" cy="761499"/>
          </a:xfrm>
        </p:spPr>
        <p:txBody>
          <a:bodyPr/>
          <a:lstStyle>
            <a:lvl1pPr marL="0" indent="0">
              <a:buNone/>
              <a:defRPr sz="1325"/>
            </a:lvl1pPr>
            <a:lvl2pPr marL="425437" indent="0">
              <a:buNone/>
              <a:defRPr sz="1135"/>
            </a:lvl2pPr>
            <a:lvl3pPr marL="850883" indent="0">
              <a:buNone/>
              <a:defRPr sz="946"/>
            </a:lvl3pPr>
            <a:lvl4pPr marL="1276327" indent="0">
              <a:buNone/>
              <a:defRPr sz="851"/>
            </a:lvl4pPr>
            <a:lvl5pPr marL="1701760" indent="0">
              <a:buNone/>
              <a:defRPr sz="851"/>
            </a:lvl5pPr>
            <a:lvl6pPr marL="2127202" indent="0">
              <a:buNone/>
              <a:defRPr sz="851"/>
            </a:lvl6pPr>
            <a:lvl7pPr marL="2552645" indent="0">
              <a:buNone/>
              <a:defRPr sz="851"/>
            </a:lvl7pPr>
            <a:lvl8pPr marL="2978087" indent="0">
              <a:buNone/>
              <a:defRPr sz="851"/>
            </a:lvl8pPr>
            <a:lvl9pPr marL="3403518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917163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7700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093971"/>
      </p:ext>
    </p:extLst>
  </p:cSld>
  <p:clrMapOvr>
    <a:masterClrMapping/>
  </p:clrMapOvr>
  <p:hf sldNum="0" hdr="0" dt="0"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2797" y="608299"/>
            <a:ext cx="2092817" cy="19856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9906" y="608299"/>
            <a:ext cx="6137414" cy="19856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502038"/>
      </p:ext>
    </p:extLst>
  </p:cSld>
  <p:clrMapOvr>
    <a:masterClrMapping/>
  </p:clrMapOvr>
  <p:hf sldNum="0" hdr="0" dt="0"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2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36"/>
            <a:ext cx="8900276" cy="49507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17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56"/>
            <a:ext cx="6430723" cy="378565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46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71" y="6039509"/>
            <a:ext cx="2001160" cy="486194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14" b="1" baseline="0"/>
            </a:lvl1pPr>
            <a:lvl2pPr marL="0" indent="0">
              <a:spcBef>
                <a:spcPts val="0"/>
              </a:spcBef>
              <a:buNone/>
              <a:defRPr sz="1514" baseline="0"/>
            </a:lvl2pPr>
            <a:lvl3pPr>
              <a:defRPr sz="1514"/>
            </a:lvl3pPr>
            <a:lvl4pPr>
              <a:defRPr sz="1514"/>
            </a:lvl4pPr>
            <a:lvl5pPr>
              <a:defRPr sz="1514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67329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97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17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50" y="6039471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64660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40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07" y="148431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60905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8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0045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8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39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8" y="1484316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2023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8" y="1484316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3247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3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1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1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1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1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5381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616" y="294387"/>
            <a:ext cx="9238948" cy="54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[</a:t>
            </a:r>
            <a:r>
              <a:rPr lang="en-US" dirty="0" err="1" smtClean="0"/>
              <a:t>Strapline</a:t>
            </a:r>
            <a:r>
              <a:rPr lang="en-US" dirty="0" smtClean="0"/>
              <a:t>]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00025" y="1782763"/>
            <a:ext cx="9507538" cy="44399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62124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422881"/>
      </p:ext>
    </p:extLst>
  </p:cSld>
  <p:clrMapOvr>
    <a:masterClrMapping/>
  </p:clrMapOvr>
  <p:hf sldNum="0" hdr="0" dt="0"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299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19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51" y="6039472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33297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&amp;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0506" y="479495"/>
            <a:ext cx="8804996" cy="276999"/>
          </a:xfrm>
        </p:spPr>
        <p:txBody>
          <a:bodyPr bIns="0">
            <a:spAutoFit/>
          </a:bodyPr>
          <a:lstStyle>
            <a:lvl1pPr>
              <a:tabLst>
                <a:tab pos="328562" algn="l"/>
              </a:tabLst>
              <a:defRPr baseline="0"/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5433" y="6527864"/>
            <a:ext cx="3136193" cy="174717"/>
          </a:xfrm>
        </p:spPr>
        <p:txBody>
          <a:bodyPr/>
          <a:lstStyle>
            <a:lvl1pPr algn="r">
              <a:defRPr sz="1100"/>
            </a:lvl1pPr>
          </a:lstStyle>
          <a:p>
            <a:pPr>
              <a:buClr>
                <a:srgbClr val="FF0000"/>
              </a:buCl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502" y="153805"/>
            <a:ext cx="8800448" cy="276999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161400" indent="-161400">
              <a:buNone/>
              <a:tabLst/>
              <a:defRPr b="1" i="1" baseline="0">
                <a:latin typeface="+mn-lt"/>
              </a:defRPr>
            </a:lvl1pPr>
            <a:lvl2pPr>
              <a:defRPr b="1" i="1">
                <a:latin typeface="+mn-lt"/>
              </a:defRPr>
            </a:lvl2pPr>
            <a:lvl3pPr>
              <a:defRPr b="1" i="1">
                <a:latin typeface="+mn-lt"/>
              </a:defRPr>
            </a:lvl3pPr>
            <a:lvl4pPr>
              <a:defRPr b="1" i="1">
                <a:latin typeface="+mn-lt"/>
              </a:defRPr>
            </a:lvl4pPr>
            <a:lvl5pPr>
              <a:defRPr b="1" i="1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503" y="6222668"/>
            <a:ext cx="8794381" cy="140720"/>
          </a:xfrm>
        </p:spPr>
        <p:txBody>
          <a:bodyPr tIns="32679"/>
          <a:lstStyle>
            <a:lvl1pPr marL="163396" indent="-163396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700"/>
            </a:lvl1pPr>
          </a:lstStyle>
          <a:p>
            <a:pPr lvl="0"/>
            <a:r>
              <a:rPr lang="en-GB" noProof="0" dirty="0" smtClean="0"/>
              <a:t>Click to add note(s)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815152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100" y="152400"/>
            <a:ext cx="7759700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65100" y="1371600"/>
            <a:ext cx="3797300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165100" y="4076700"/>
            <a:ext cx="3797300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127500" y="1371600"/>
            <a:ext cx="3797300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101197"/>
      </p:ext>
    </p:extLst>
  </p:cSld>
  <p:clrMapOvr>
    <a:masterClrMapping/>
  </p:clrMapOvr>
  <p:hf sldNum="0" hdr="0" dt="0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880363" y="6291471"/>
            <a:ext cx="3025637" cy="5665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781" tIns="47890" rIns="95781" bIns="47890"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00497" y="619541"/>
            <a:ext cx="9805504" cy="5665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781" tIns="47890" rIns="95781" bIns="47890"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65997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8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29001"/>
            <a:ext cx="9906000" cy="2044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82"/>
          <p:cNvSpPr>
            <a:spLocks noChangeArrowheads="1"/>
          </p:cNvSpPr>
          <p:nvPr userDrawn="1"/>
        </p:nvSpPr>
        <p:spPr bwMode="auto">
          <a:xfrm>
            <a:off x="9596628" y="0"/>
            <a:ext cx="138005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98" tIns="47100" rIns="94198" bIns="47100" anchor="ctr"/>
          <a:lstStyle>
            <a:lvl1pPr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5" name="AutoShape 27"/>
          <p:cNvSpPr>
            <a:spLocks noChangeArrowheads="1"/>
          </p:cNvSpPr>
          <p:nvPr userDrawn="1"/>
        </p:nvSpPr>
        <p:spPr bwMode="gray">
          <a:xfrm rot="16200000">
            <a:off x="9526792" y="5819381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4198" tIns="47100" rIns="94198" bIns="47100" anchor="ctr"/>
          <a:lstStyle>
            <a:lvl1pPr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6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827" y="5760060"/>
            <a:ext cx="1621175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5551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88506" y="2747106"/>
            <a:ext cx="8419797" cy="410038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bIns="0" anchor="b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7" name="Rectangle 51"/>
          <p:cNvSpPr>
            <a:spLocks noGrp="1" noChangeArrowheads="1"/>
          </p:cNvSpPr>
          <p:nvPr>
            <p:ph type="ftr" sz="quarter" idx="10"/>
          </p:nvPr>
        </p:nvSpPr>
        <p:spPr>
          <a:xfrm>
            <a:off x="686990" y="6404405"/>
            <a:ext cx="65" cy="160172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6879143"/>
      </p:ext>
    </p:extLst>
  </p:cSld>
  <p:clrMapOvr>
    <a:masterClrMapping/>
  </p:clrMapOvr>
  <p:hf sldNum="0" hdr="0" dt="0"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9738" y="2015646"/>
            <a:ext cx="8043696" cy="1390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9476" y="3676825"/>
            <a:ext cx="6624220" cy="1658176"/>
          </a:xfrm>
        </p:spPr>
        <p:txBody>
          <a:bodyPr/>
          <a:lstStyle>
            <a:lvl1pPr marL="0" indent="0" algn="ctr">
              <a:buNone/>
              <a:defRPr/>
            </a:lvl1pPr>
            <a:lvl2pPr marL="432557" indent="0" algn="ctr">
              <a:buNone/>
              <a:defRPr/>
            </a:lvl2pPr>
            <a:lvl3pPr marL="865114" indent="0" algn="ctr">
              <a:buNone/>
              <a:defRPr/>
            </a:lvl3pPr>
            <a:lvl4pPr marL="1297671" indent="0" algn="ctr">
              <a:buNone/>
              <a:defRPr/>
            </a:lvl4pPr>
            <a:lvl5pPr marL="1730228" indent="0" algn="ctr">
              <a:buNone/>
              <a:defRPr/>
            </a:lvl5pPr>
            <a:lvl6pPr marL="2162785" indent="0" algn="ctr">
              <a:buNone/>
              <a:defRPr/>
            </a:lvl6pPr>
            <a:lvl7pPr marL="2595342" indent="0" algn="ctr">
              <a:buNone/>
              <a:defRPr/>
            </a:lvl7pPr>
            <a:lvl8pPr marL="3027898" indent="0" algn="ctr">
              <a:buNone/>
              <a:defRPr/>
            </a:lvl8pPr>
            <a:lvl9pPr marL="3460455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2159081"/>
      </p:ext>
    </p:extLst>
  </p:cSld>
  <p:clrMapOvr>
    <a:masterClrMapping/>
  </p:clrMapOvr>
  <p:hf sldNum="0" hdr="0" dt="0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57866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52" y="4169472"/>
            <a:ext cx="8043696" cy="1288691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7652" y="2750110"/>
            <a:ext cx="8043696" cy="1419362"/>
          </a:xfrm>
        </p:spPr>
        <p:txBody>
          <a:bodyPr anchor="b"/>
          <a:lstStyle>
            <a:lvl1pPr marL="0" indent="0">
              <a:buNone/>
              <a:defRPr sz="1892"/>
            </a:lvl1pPr>
            <a:lvl2pPr marL="432557" indent="0">
              <a:buNone/>
              <a:defRPr sz="1703"/>
            </a:lvl2pPr>
            <a:lvl3pPr marL="865114" indent="0">
              <a:buNone/>
              <a:defRPr sz="1514"/>
            </a:lvl3pPr>
            <a:lvl4pPr marL="1297671" indent="0">
              <a:buNone/>
              <a:defRPr sz="1325"/>
            </a:lvl4pPr>
            <a:lvl5pPr marL="1730228" indent="0">
              <a:buNone/>
              <a:defRPr sz="1325"/>
            </a:lvl5pPr>
            <a:lvl6pPr marL="2162785" indent="0">
              <a:buNone/>
              <a:defRPr sz="1325"/>
            </a:lvl6pPr>
            <a:lvl7pPr marL="2595342" indent="0">
              <a:buNone/>
              <a:defRPr sz="1325"/>
            </a:lvl7pPr>
            <a:lvl8pPr marL="3027898" indent="0">
              <a:buNone/>
              <a:defRPr sz="1325"/>
            </a:lvl8pPr>
            <a:lvl9pPr marL="3460455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445100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312" y="1632643"/>
            <a:ext cx="4111323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8222" y="1632643"/>
            <a:ext cx="4112840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708528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95123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159" y="259842"/>
            <a:ext cx="8516855" cy="10814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158" y="1452406"/>
            <a:ext cx="4181085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557" indent="0">
              <a:buNone/>
              <a:defRPr sz="1892" b="1"/>
            </a:lvl2pPr>
            <a:lvl3pPr marL="865114" indent="0">
              <a:buNone/>
              <a:defRPr sz="1703" b="1"/>
            </a:lvl3pPr>
            <a:lvl4pPr marL="1297671" indent="0">
              <a:buNone/>
              <a:defRPr sz="1514" b="1"/>
            </a:lvl4pPr>
            <a:lvl5pPr marL="1730228" indent="0">
              <a:buNone/>
              <a:defRPr sz="1514" b="1"/>
            </a:lvl5pPr>
            <a:lvl6pPr marL="2162785" indent="0">
              <a:buNone/>
              <a:defRPr sz="1514" b="1"/>
            </a:lvl6pPr>
            <a:lvl7pPr marL="2595342" indent="0">
              <a:buNone/>
              <a:defRPr sz="1514" b="1"/>
            </a:lvl7pPr>
            <a:lvl8pPr marL="3027898" indent="0">
              <a:buNone/>
              <a:defRPr sz="1514" b="1"/>
            </a:lvl8pPr>
            <a:lvl9pPr marL="3460455" indent="0">
              <a:buNone/>
              <a:defRPr sz="1514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158" y="2057700"/>
            <a:ext cx="4181085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514"/>
            </a:lvl4pPr>
            <a:lvl5pPr>
              <a:defRPr sz="1514"/>
            </a:lvl5pPr>
            <a:lvl6pPr>
              <a:defRPr sz="1514"/>
            </a:lvl6pPr>
            <a:lvl7pPr>
              <a:defRPr sz="1514"/>
            </a:lvl7pPr>
            <a:lvl8pPr>
              <a:defRPr sz="1514"/>
            </a:lvl8pPr>
            <a:lvl9pPr>
              <a:defRPr sz="151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7413" y="1452406"/>
            <a:ext cx="4182601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557" indent="0">
              <a:buNone/>
              <a:defRPr sz="1892" b="1"/>
            </a:lvl2pPr>
            <a:lvl3pPr marL="865114" indent="0">
              <a:buNone/>
              <a:defRPr sz="1703" b="1"/>
            </a:lvl3pPr>
            <a:lvl4pPr marL="1297671" indent="0">
              <a:buNone/>
              <a:defRPr sz="1514" b="1"/>
            </a:lvl4pPr>
            <a:lvl5pPr marL="1730228" indent="0">
              <a:buNone/>
              <a:defRPr sz="1514" b="1"/>
            </a:lvl5pPr>
            <a:lvl6pPr marL="2162785" indent="0">
              <a:buNone/>
              <a:defRPr sz="1514" b="1"/>
            </a:lvl6pPr>
            <a:lvl7pPr marL="2595342" indent="0">
              <a:buNone/>
              <a:defRPr sz="1514" b="1"/>
            </a:lvl7pPr>
            <a:lvl8pPr marL="3027898" indent="0">
              <a:buNone/>
              <a:defRPr sz="1514" b="1"/>
            </a:lvl8pPr>
            <a:lvl9pPr marL="3460455" indent="0">
              <a:buNone/>
              <a:defRPr sz="1514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07413" y="2057700"/>
            <a:ext cx="4182601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514"/>
            </a:lvl4pPr>
            <a:lvl5pPr>
              <a:defRPr sz="1514"/>
            </a:lvl5pPr>
            <a:lvl6pPr>
              <a:defRPr sz="1514"/>
            </a:lvl6pPr>
            <a:lvl7pPr>
              <a:defRPr sz="1514"/>
            </a:lvl7pPr>
            <a:lvl8pPr>
              <a:defRPr sz="1514"/>
            </a:lvl8pPr>
            <a:lvl9pPr>
              <a:defRPr sz="151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414953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898230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693724"/>
      </p:ext>
    </p:extLst>
  </p:cSld>
  <p:clrMapOvr>
    <a:masterClrMapping/>
  </p:clrMapOvr>
  <p:hf sldNum="0" hdr="0" dt="0"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158" y="258339"/>
            <a:ext cx="3113445" cy="1099443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0343" y="258339"/>
            <a:ext cx="5289671" cy="5537768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3158" y="1357782"/>
            <a:ext cx="3113445" cy="4438325"/>
          </a:xfrm>
        </p:spPr>
        <p:txBody>
          <a:bodyPr/>
          <a:lstStyle>
            <a:lvl1pPr marL="0" indent="0">
              <a:buNone/>
              <a:defRPr sz="1325"/>
            </a:lvl1pPr>
            <a:lvl2pPr marL="432557" indent="0">
              <a:buNone/>
              <a:defRPr sz="1135"/>
            </a:lvl2pPr>
            <a:lvl3pPr marL="865114" indent="0">
              <a:buNone/>
              <a:defRPr sz="946"/>
            </a:lvl3pPr>
            <a:lvl4pPr marL="1297671" indent="0">
              <a:buNone/>
              <a:defRPr sz="851"/>
            </a:lvl4pPr>
            <a:lvl5pPr marL="1730228" indent="0">
              <a:buNone/>
              <a:defRPr sz="851"/>
            </a:lvl5pPr>
            <a:lvl6pPr marL="2162785" indent="0">
              <a:buNone/>
              <a:defRPr sz="851"/>
            </a:lvl6pPr>
            <a:lvl7pPr marL="2595342" indent="0">
              <a:buNone/>
              <a:defRPr sz="851"/>
            </a:lvl7pPr>
            <a:lvl8pPr marL="3027898" indent="0">
              <a:buNone/>
              <a:defRPr sz="851"/>
            </a:lvl8pPr>
            <a:lvl9pPr marL="3460455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9195676"/>
      </p:ext>
    </p:extLst>
  </p:cSld>
  <p:clrMapOvr>
    <a:masterClrMapping/>
  </p:clrMapOvr>
  <p:hf sldNum="0" hdr="0" dt="0"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4722" y="4541961"/>
            <a:ext cx="5677903" cy="536204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54722" y="579761"/>
            <a:ext cx="5677903" cy="3893109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3028"/>
            </a:lvl1pPr>
            <a:lvl2pPr marL="432557" indent="0">
              <a:buNone/>
              <a:defRPr sz="2649"/>
            </a:lvl2pPr>
            <a:lvl3pPr marL="865114" indent="0">
              <a:buNone/>
              <a:defRPr sz="2271"/>
            </a:lvl3pPr>
            <a:lvl4pPr marL="1297671" indent="0">
              <a:buNone/>
              <a:defRPr sz="1892"/>
            </a:lvl4pPr>
            <a:lvl5pPr marL="1730228" indent="0">
              <a:buNone/>
              <a:defRPr sz="1892"/>
            </a:lvl5pPr>
            <a:lvl6pPr marL="2162785" indent="0">
              <a:buNone/>
              <a:defRPr sz="1892"/>
            </a:lvl6pPr>
            <a:lvl7pPr marL="2595342" indent="0">
              <a:buNone/>
              <a:defRPr sz="1892"/>
            </a:lvl7pPr>
            <a:lvl8pPr marL="3027898" indent="0">
              <a:buNone/>
              <a:defRPr sz="1892"/>
            </a:lvl8pPr>
            <a:lvl9pPr marL="3460455" indent="0">
              <a:buNone/>
              <a:defRPr sz="1892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54722" y="5078165"/>
            <a:ext cx="5677903" cy="761499"/>
          </a:xfrm>
        </p:spPr>
        <p:txBody>
          <a:bodyPr/>
          <a:lstStyle>
            <a:lvl1pPr marL="0" indent="0">
              <a:buNone/>
              <a:defRPr sz="1325"/>
            </a:lvl1pPr>
            <a:lvl2pPr marL="432557" indent="0">
              <a:buNone/>
              <a:defRPr sz="1135"/>
            </a:lvl2pPr>
            <a:lvl3pPr marL="865114" indent="0">
              <a:buNone/>
              <a:defRPr sz="946"/>
            </a:lvl3pPr>
            <a:lvl4pPr marL="1297671" indent="0">
              <a:buNone/>
              <a:defRPr sz="851"/>
            </a:lvl4pPr>
            <a:lvl5pPr marL="1730228" indent="0">
              <a:buNone/>
              <a:defRPr sz="851"/>
            </a:lvl5pPr>
            <a:lvl6pPr marL="2162785" indent="0">
              <a:buNone/>
              <a:defRPr sz="851"/>
            </a:lvl6pPr>
            <a:lvl7pPr marL="2595342" indent="0">
              <a:buNone/>
              <a:defRPr sz="851"/>
            </a:lvl7pPr>
            <a:lvl8pPr marL="3027898" indent="0">
              <a:buNone/>
              <a:defRPr sz="851"/>
            </a:lvl8pPr>
            <a:lvl9pPr marL="3460455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6491108"/>
      </p:ext>
    </p:extLst>
  </p:cSld>
  <p:clrMapOvr>
    <a:masterClrMapping/>
  </p:clrMapOvr>
  <p:hf sldNum="0" hdr="0" dt="0"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1082186"/>
      </p:ext>
    </p:extLst>
  </p:cSld>
  <p:clrMapOvr>
    <a:masterClrMapping/>
  </p:clrMapOvr>
  <p:hf sldNum="0" hdr="0" dt="0"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2796" y="608299"/>
            <a:ext cx="2092817" cy="19856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9795" y="608299"/>
            <a:ext cx="6137414" cy="19856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671753"/>
      </p:ext>
    </p:extLst>
  </p:cSld>
  <p:clrMapOvr>
    <a:masterClrMapping/>
  </p:clrMapOvr>
  <p:hf sldNum="0" hdr="0" dt="0"/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503" y="294387"/>
            <a:ext cx="8804996" cy="68189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95907" y="1599600"/>
            <a:ext cx="8914187" cy="4526941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1010217"/>
      </p:ext>
    </p:extLst>
  </p:cSld>
  <p:clrMapOvr>
    <a:masterClrMapping/>
  </p:clrMapOvr>
  <p:hf sldNum="0" hdr="0" dt="0"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5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55"/>
          <p:cNvSpPr>
            <a:spLocks noChangeArrowheads="1"/>
          </p:cNvSpPr>
          <p:nvPr userDrawn="1"/>
        </p:nvSpPr>
        <p:spPr bwMode="auto">
          <a:xfrm>
            <a:off x="0" y="1"/>
            <a:ext cx="9906000" cy="3676650"/>
          </a:xfrm>
          <a:prstGeom prst="rect">
            <a:avLst/>
          </a:prstGeom>
          <a:solidFill>
            <a:srgbClr val="EAEAEA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37829" rIns="0" bIns="0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b="0" dirty="0">
              <a:solidFill>
                <a:srgbClr val="000000"/>
              </a:solidFill>
              <a:latin typeface="Trebuchet MS" pitchFamily="34" charset="0"/>
              <a:cs typeface="+mn-cs"/>
            </a:endParaRPr>
          </a:p>
        </p:txBody>
      </p:sp>
      <p:sp>
        <p:nvSpPr>
          <p:cNvPr id="10" name="Rectangle 82"/>
          <p:cNvSpPr>
            <a:spLocks noChangeArrowheads="1"/>
          </p:cNvSpPr>
          <p:nvPr userDrawn="1"/>
        </p:nvSpPr>
        <p:spPr bwMode="auto">
          <a:xfrm>
            <a:off x="9605416" y="0"/>
            <a:ext cx="144463" cy="685799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9562" tIns="49782" rIns="99562" bIns="49782" anchor="ctr"/>
          <a:lstStyle/>
          <a:p>
            <a:pPr algn="l" defTabSz="995363" eaLnBrk="1" fontAlgn="auto" hangingPunct="1">
              <a:spcBef>
                <a:spcPct val="50000"/>
              </a:spcBef>
              <a:spcAft>
                <a:spcPts val="0"/>
              </a:spcAft>
            </a:pPr>
            <a:endParaRPr lang="en-GB" sz="700" b="0" i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1" name="AutoShape 26"/>
          <p:cNvSpPr>
            <a:spLocks noChangeArrowheads="1"/>
          </p:cNvSpPr>
          <p:nvPr userDrawn="1"/>
        </p:nvSpPr>
        <p:spPr bwMode="gray">
          <a:xfrm rot="16200000">
            <a:off x="9530803" y="5875338"/>
            <a:ext cx="314325" cy="16510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/>
        </p:spPr>
        <p:txBody>
          <a:bodyPr vert="eaVert" wrap="none" lIns="99562" tIns="49782" rIns="99562" bIns="49782" anchor="ctr"/>
          <a:lstStyle/>
          <a:p>
            <a:pPr algn="l" defTabSz="935038" eaLnBrk="1" fontAlgn="auto" hangingPunct="1">
              <a:spcBef>
                <a:spcPct val="50000"/>
              </a:spcBef>
              <a:spcAft>
                <a:spcPts val="0"/>
              </a:spcAft>
            </a:pPr>
            <a:endParaRPr lang="en-GB" sz="700" b="0" i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2" name="Picture 45" descr="HSBC Hexagon_logo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08341" y="5813426"/>
            <a:ext cx="17018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720000" y="3965025"/>
            <a:ext cx="8452575" cy="504000"/>
          </a:xfrm>
        </p:spPr>
        <p:txBody>
          <a:bodyPr/>
          <a:lstStyle>
            <a:lvl1pPr marL="0" indent="0">
              <a:buFontTx/>
              <a:buNone/>
              <a:defRPr sz="30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719999" y="4469025"/>
            <a:ext cx="7004775" cy="504000"/>
          </a:xfrm>
        </p:spPr>
        <p:txBody>
          <a:bodyPr tIns="0"/>
          <a:lstStyle>
            <a:lvl1pPr marL="0" indent="0">
              <a:buFontTx/>
              <a:buNone/>
              <a:defRPr sz="28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5268600"/>
            <a:ext cx="1440000" cy="216000"/>
          </a:xfrm>
        </p:spPr>
        <p:txBody>
          <a:bodyPr tIns="0">
            <a:noAutofit/>
          </a:bodyPr>
          <a:lstStyle>
            <a:lvl1pPr marL="0" indent="0">
              <a:buFontTx/>
              <a:buNone/>
              <a:defRPr sz="1200" b="1">
                <a:latin typeface="+mj-lt"/>
              </a:defRPr>
            </a:lvl1pPr>
          </a:lstStyle>
          <a:p>
            <a:pPr lvl="0"/>
            <a:r>
              <a:rPr lang="en-GB" dirty="0" smtClean="0"/>
              <a:t>Prepared by: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240000" y="5268600"/>
            <a:ext cx="1440000" cy="216000"/>
          </a:xfrm>
        </p:spPr>
        <p:txBody>
          <a:bodyPr tIns="0"/>
          <a:lstStyle>
            <a:lvl1pPr marL="0" indent="0">
              <a:buFontTx/>
              <a:buNone/>
              <a:defRPr sz="1200" b="1">
                <a:latin typeface="+mj-lt"/>
              </a:defRPr>
            </a:lvl1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sp>
        <p:nvSpPr>
          <p:cNvPr id="13" name="Text Box 211"/>
          <p:cNvSpPr txBox="1">
            <a:spLocks noChangeArrowheads="1"/>
          </p:cNvSpPr>
          <p:nvPr userDrawn="1"/>
        </p:nvSpPr>
        <p:spPr bwMode="auto">
          <a:xfrm>
            <a:off x="9434712" y="6503989"/>
            <a:ext cx="65" cy="1384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9017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900" dirty="0">
              <a:solidFill>
                <a:srgbClr val="A5A6A9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564902"/>
      </p:ext>
    </p:extLst>
  </p:cSld>
  <p:clrMapOvr>
    <a:masterClrMapping/>
  </p:clrMapOvr>
  <p:hf sldNum="0" hdr="0" dt="0"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71224" y="1198800"/>
            <a:ext cx="8963555" cy="415440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860193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6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29866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134224"/>
      </p:ext>
    </p:extLst>
  </p:cSld>
  <p:clrMapOvr>
    <a:masterClrMapping/>
  </p:clrMapOvr>
  <p:hf sldNum="0" hdr="0" dt="0"/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518093"/>
      </p:ext>
    </p:extLst>
  </p:cSld>
  <p:clrMapOvr>
    <a:masterClrMapping/>
  </p:clrMapOvr>
  <p:hf sldNum="0" hdr="0" dt="0"/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2"/>
          <p:cNvSpPr>
            <a:spLocks noChangeArrowheads="1"/>
          </p:cNvSpPr>
          <p:nvPr/>
        </p:nvSpPr>
        <p:spPr bwMode="auto">
          <a:xfrm>
            <a:off x="9596686" y="0"/>
            <a:ext cx="138005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457" tIns="46232" rIns="92457" bIns="46232" anchor="ctr"/>
          <a:lstStyle>
            <a:lvl1pPr defTabSz="98107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8107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8107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8107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8107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8107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8107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8107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8107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US" altLang="en-US" sz="662" i="1" smtClean="0">
              <a:solidFill>
                <a:srgbClr val="000000"/>
              </a:solidFill>
            </a:endParaRP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gray">
          <a:xfrm rot="16200000">
            <a:off x="9526793" y="5819381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92457" tIns="46232" rIns="92457" bIns="46232" anchor="ctr"/>
          <a:lstStyle>
            <a:lvl1pPr defTabSz="92392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392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392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392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3925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US" altLang="en-US" sz="662" b="0" i="1" smtClean="0">
              <a:solidFill>
                <a:srgbClr val="000000"/>
              </a:solidFill>
            </a:endParaRPr>
          </a:p>
        </p:txBody>
      </p:sp>
      <p:pic>
        <p:nvPicPr>
          <p:cNvPr id="6" name="Picture 45" descr="HSBC Hexagon_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827" y="5760060"/>
            <a:ext cx="1619658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5" y="-26982"/>
            <a:ext cx="9596627" cy="4112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60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688506" y="4110907"/>
            <a:ext cx="8419797" cy="476124"/>
          </a:xfrm>
        </p:spPr>
        <p:txBody>
          <a:bodyPr bIns="0"/>
          <a:lstStyle>
            <a:lvl1pPr>
              <a:lnSpc>
                <a:spcPct val="100000"/>
              </a:lnSpc>
              <a:defRPr sz="2838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96261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88509" y="4587137"/>
            <a:ext cx="6933593" cy="477627"/>
          </a:xfrm>
        </p:spPr>
        <p:txBody>
          <a:bodyPr tIns="0"/>
          <a:lstStyle>
            <a:lvl1pPr marL="0" indent="0">
              <a:spcBef>
                <a:spcPct val="0"/>
              </a:spcBef>
              <a:buClrTx/>
              <a:buFontTx/>
              <a:buNone/>
              <a:defRPr sz="2649"/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0"/>
          </p:nvPr>
        </p:nvSpPr>
        <p:spPr>
          <a:xfrm>
            <a:off x="685531" y="6404405"/>
            <a:ext cx="62" cy="160157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039869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tIns="35997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20357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65473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89840" y="484188"/>
            <a:ext cx="2339975" cy="59420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66700" y="484188"/>
            <a:ext cx="6870700" cy="59420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03961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143" y="484188"/>
            <a:ext cx="7694612" cy="431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92138" y="1257300"/>
            <a:ext cx="9037637" cy="5168900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71422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143" y="484188"/>
            <a:ext cx="7694612" cy="431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92138" y="1257300"/>
            <a:ext cx="4441825" cy="51689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6371" y="1257300"/>
            <a:ext cx="4443412" cy="51689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92893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0"/>
          <p:cNvSpPr>
            <a:spLocks noChangeArrowheads="1"/>
          </p:cNvSpPr>
          <p:nvPr userDrawn="1"/>
        </p:nvSpPr>
        <p:spPr bwMode="auto">
          <a:xfrm>
            <a:off x="0" y="3429001"/>
            <a:ext cx="9906000" cy="2044182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wrap="none" lIns="0" tIns="35806" rIns="0" bIns="0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82"/>
          <p:cNvSpPr>
            <a:spLocks noChangeArrowheads="1"/>
          </p:cNvSpPr>
          <p:nvPr userDrawn="1"/>
        </p:nvSpPr>
        <p:spPr bwMode="auto">
          <a:xfrm>
            <a:off x="9596746" y="0"/>
            <a:ext cx="138005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4232" tIns="47115" rIns="94232" bIns="47115" anchor="ctr"/>
          <a:lstStyle/>
          <a:p>
            <a:pPr defTabSz="942107">
              <a:spcBef>
                <a:spcPct val="50000"/>
              </a:spcBef>
            </a:pPr>
            <a:endParaRPr lang="en-US" sz="7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AutoShape 27"/>
          <p:cNvSpPr>
            <a:spLocks noChangeArrowheads="1"/>
          </p:cNvSpPr>
          <p:nvPr userDrawn="1"/>
        </p:nvSpPr>
        <p:spPr bwMode="gray">
          <a:xfrm rot="16200000">
            <a:off x="9526794" y="5819381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vert="eaVert" wrap="none" lIns="94232" tIns="47115" rIns="94232" bIns="47115" anchor="ctr"/>
          <a:lstStyle/>
          <a:p>
            <a:pPr defTabSz="885006">
              <a:spcBef>
                <a:spcPct val="50000"/>
              </a:spcBef>
            </a:pPr>
            <a:endParaRPr lang="en-US" sz="700" b="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45" descr="HSBC Hexagon_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88831" y="5760216"/>
            <a:ext cx="1625724" cy="28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5551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88508" y="2747113"/>
            <a:ext cx="8419797" cy="410038"/>
          </a:xfrm>
          <a:ln algn="ctr"/>
        </p:spPr>
        <p:txBody>
          <a:bodyPr bIns="0" anchor="b"/>
          <a:lstStyle>
            <a:lvl1pPr>
              <a:lnSpc>
                <a:spcPct val="100000"/>
              </a:lnSpc>
              <a:defRPr sz="2900" b="1" smtClean="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</a:p>
        </p:txBody>
      </p:sp>
      <p:sp>
        <p:nvSpPr>
          <p:cNvPr id="8" name="Text Box 23"/>
          <p:cNvSpPr txBox="1">
            <a:spLocks noChangeArrowheads="1"/>
          </p:cNvSpPr>
          <p:nvPr userDrawn="1"/>
        </p:nvSpPr>
        <p:spPr bwMode="auto">
          <a:xfrm>
            <a:off x="831182" y="6499036"/>
            <a:ext cx="65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81013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60438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41450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20875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780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352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924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496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>
              <a:spcBef>
                <a:spcPct val="0"/>
              </a:spcBef>
              <a:defRPr/>
            </a:pPr>
            <a:endParaRPr lang="en-GB" sz="1000" i="0" dirty="0" smtClean="0">
              <a:solidFill>
                <a:srgbClr val="A5A6A9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33050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9738" y="2015690"/>
            <a:ext cx="8043696" cy="1390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9476" y="3676825"/>
            <a:ext cx="6624220" cy="1658176"/>
          </a:xfrm>
          <a:prstGeom prst="rect">
            <a:avLst/>
          </a:prstGeom>
        </p:spPr>
        <p:txBody>
          <a:bodyPr lIns="86550" tIns="43276" rIns="86550" bIns="43276"/>
          <a:lstStyle>
            <a:lvl1pPr marL="0" indent="0" algn="ctr">
              <a:buNone/>
              <a:defRPr/>
            </a:lvl1pPr>
            <a:lvl2pPr marL="432736" indent="0" algn="ctr">
              <a:buNone/>
              <a:defRPr/>
            </a:lvl2pPr>
            <a:lvl3pPr marL="865477" indent="0" algn="ctr">
              <a:buNone/>
              <a:defRPr/>
            </a:lvl3pPr>
            <a:lvl4pPr marL="1298214" indent="0" algn="ctr">
              <a:buNone/>
              <a:defRPr/>
            </a:lvl4pPr>
            <a:lvl5pPr marL="1730953" indent="0" algn="ctr">
              <a:buNone/>
              <a:defRPr/>
            </a:lvl5pPr>
            <a:lvl6pPr marL="2163691" indent="0" algn="ctr">
              <a:buNone/>
              <a:defRPr/>
            </a:lvl6pPr>
            <a:lvl7pPr marL="2596426" indent="0" algn="ctr">
              <a:buNone/>
              <a:defRPr/>
            </a:lvl7pPr>
            <a:lvl8pPr marL="3029166" indent="0" algn="ctr">
              <a:buNone/>
              <a:defRPr/>
            </a:lvl8pPr>
            <a:lvl9pPr marL="3461901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0200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587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33558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00559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11986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70473"/>
      </p:ext>
    </p:extLst>
  </p:cSld>
  <p:clrMapOvr>
    <a:masterClrMapping/>
  </p:clrMapOvr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175" y="258356"/>
            <a:ext cx="3113445" cy="1099443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0399" y="258339"/>
            <a:ext cx="5289671" cy="5537768"/>
          </a:xfrm>
          <a:prstGeom prst="rect">
            <a:avLst/>
          </a:prstGeom>
        </p:spPr>
        <p:txBody>
          <a:bodyPr lIns="86550" tIns="43276" rIns="86550" bIns="43276"/>
          <a:lstStyle>
            <a:lvl1pPr>
              <a:defRPr sz="3000"/>
            </a:lvl1pPr>
            <a:lvl2pPr>
              <a:defRPr sz="27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3175" y="1357797"/>
            <a:ext cx="3113445" cy="4438325"/>
          </a:xfrm>
          <a:prstGeom prst="rect">
            <a:avLst/>
          </a:prstGeom>
        </p:spPr>
        <p:txBody>
          <a:bodyPr lIns="86550" tIns="43276" rIns="86550" bIns="43276"/>
          <a:lstStyle>
            <a:lvl1pPr marL="0" indent="0">
              <a:buNone/>
              <a:defRPr sz="1300"/>
            </a:lvl1pPr>
            <a:lvl2pPr marL="432736" indent="0">
              <a:buNone/>
              <a:defRPr sz="1100"/>
            </a:lvl2pPr>
            <a:lvl3pPr marL="865477" indent="0">
              <a:buNone/>
              <a:defRPr sz="1000"/>
            </a:lvl3pPr>
            <a:lvl4pPr marL="1298214" indent="0">
              <a:buNone/>
              <a:defRPr sz="900"/>
            </a:lvl4pPr>
            <a:lvl5pPr marL="1730953" indent="0">
              <a:buNone/>
              <a:defRPr sz="900"/>
            </a:lvl5pPr>
            <a:lvl6pPr marL="2163691" indent="0">
              <a:buNone/>
              <a:defRPr sz="900"/>
            </a:lvl6pPr>
            <a:lvl7pPr marL="2596426" indent="0">
              <a:buNone/>
              <a:defRPr sz="900"/>
            </a:lvl7pPr>
            <a:lvl8pPr marL="3029166" indent="0">
              <a:buNone/>
              <a:defRPr sz="900"/>
            </a:lvl8pPr>
            <a:lvl9pPr marL="346190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180480"/>
      </p:ext>
    </p:extLst>
  </p:cSld>
  <p:clrMapOvr>
    <a:masterClrMapping/>
  </p:clrMapOvr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4758" y="4541961"/>
            <a:ext cx="5677902" cy="536204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54758" y="579777"/>
            <a:ext cx="5677902" cy="3893109"/>
          </a:xfrm>
          <a:prstGeom prst="rect">
            <a:avLst/>
          </a:prstGeom>
        </p:spPr>
        <p:txBody>
          <a:bodyPr lIns="86550" tIns="0" rIns="86550" bIns="43276"/>
          <a:lstStyle>
            <a:lvl1pPr marL="0" indent="0">
              <a:buNone/>
              <a:defRPr sz="3000"/>
            </a:lvl1pPr>
            <a:lvl2pPr marL="432736" indent="0">
              <a:buNone/>
              <a:defRPr sz="2700"/>
            </a:lvl2pPr>
            <a:lvl3pPr marL="865477" indent="0">
              <a:buNone/>
              <a:defRPr sz="2300"/>
            </a:lvl3pPr>
            <a:lvl4pPr marL="1298214" indent="0">
              <a:buNone/>
              <a:defRPr sz="1900"/>
            </a:lvl4pPr>
            <a:lvl5pPr marL="1730953" indent="0">
              <a:buNone/>
              <a:defRPr sz="1900"/>
            </a:lvl5pPr>
            <a:lvl6pPr marL="2163691" indent="0">
              <a:buNone/>
              <a:defRPr sz="1900"/>
            </a:lvl6pPr>
            <a:lvl7pPr marL="2596426" indent="0">
              <a:buNone/>
              <a:defRPr sz="1900"/>
            </a:lvl7pPr>
            <a:lvl8pPr marL="3029166" indent="0">
              <a:buNone/>
              <a:defRPr sz="1900"/>
            </a:lvl8pPr>
            <a:lvl9pPr marL="3461901" indent="0">
              <a:buNone/>
              <a:defRPr sz="19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54758" y="5078318"/>
            <a:ext cx="5677902" cy="761499"/>
          </a:xfrm>
          <a:prstGeom prst="rect">
            <a:avLst/>
          </a:prstGeom>
        </p:spPr>
        <p:txBody>
          <a:bodyPr lIns="86550" tIns="43276" rIns="86550" bIns="43276"/>
          <a:lstStyle>
            <a:lvl1pPr marL="0" indent="0">
              <a:buNone/>
              <a:defRPr sz="1300"/>
            </a:lvl1pPr>
            <a:lvl2pPr marL="432736" indent="0">
              <a:buNone/>
              <a:defRPr sz="1100"/>
            </a:lvl2pPr>
            <a:lvl3pPr marL="865477" indent="0">
              <a:buNone/>
              <a:defRPr sz="1000"/>
            </a:lvl3pPr>
            <a:lvl4pPr marL="1298214" indent="0">
              <a:buNone/>
              <a:defRPr sz="900"/>
            </a:lvl4pPr>
            <a:lvl5pPr marL="1730953" indent="0">
              <a:buNone/>
              <a:defRPr sz="900"/>
            </a:lvl5pPr>
            <a:lvl6pPr marL="2163691" indent="0">
              <a:buNone/>
              <a:defRPr sz="900"/>
            </a:lvl6pPr>
            <a:lvl7pPr marL="2596426" indent="0">
              <a:buNone/>
              <a:defRPr sz="900"/>
            </a:lvl7pPr>
            <a:lvl8pPr marL="3029166" indent="0">
              <a:buNone/>
              <a:defRPr sz="900"/>
            </a:lvl8pPr>
            <a:lvl9pPr marL="346190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533835"/>
      </p:ext>
    </p:extLst>
  </p:cSld>
  <p:clrMapOvr>
    <a:masterClrMapping/>
  </p:clrMapOvr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0542" y="1249676"/>
            <a:ext cx="8804996" cy="4973027"/>
          </a:xfrm>
          <a:prstGeom prst="rect">
            <a:avLst/>
          </a:prstGeom>
        </p:spPr>
        <p:txBody>
          <a:bodyPr vert="eaVert" lIns="86550" tIns="43276" rIns="86550" bIns="4327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361233"/>
      </p:ext>
    </p:extLst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2879" y="608299"/>
            <a:ext cx="2092817" cy="19856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9829" y="608299"/>
            <a:ext cx="6137414" cy="1985606"/>
          </a:xfrm>
          <a:prstGeom prst="rect">
            <a:avLst/>
          </a:prstGeom>
        </p:spPr>
        <p:txBody>
          <a:bodyPr vert="eaVert" lIns="86550" tIns="43276" rIns="86550" bIns="4327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805668"/>
      </p:ext>
    </p:extLst>
  </p:cSld>
  <p:clrMapOvr>
    <a:masterClrMapping/>
  </p:clrMapOvr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545010" y="1330576"/>
            <a:ext cx="8810524" cy="4892090"/>
          </a:xfrm>
          <a:prstGeom prst="rect">
            <a:avLst/>
          </a:prstGeom>
        </p:spPr>
        <p:txBody>
          <a:bodyPr lIns="86550" tIns="43276" rIns="86550" bIns="43276"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154804"/>
      </p:ext>
    </p:extLst>
  </p:cSld>
  <p:clrMapOvr>
    <a:masterClrMapping/>
  </p:clrMapOvr>
  <p:hf sldNum="0"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545010" y="1330576"/>
            <a:ext cx="8810524" cy="4892090"/>
          </a:xfrm>
          <a:prstGeom prst="rect">
            <a:avLst/>
          </a:prstGeom>
        </p:spPr>
        <p:txBody>
          <a:bodyPr lIns="86550" tIns="43276" rIns="86550" bIns="43276"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5924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545010" y="1330576"/>
            <a:ext cx="8810524" cy="4892090"/>
          </a:xfrm>
          <a:prstGeom prst="rect">
            <a:avLst/>
          </a:prstGeom>
        </p:spPr>
        <p:txBody>
          <a:bodyPr lIns="86550" tIns="43276" rIns="86550" bIns="43276"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596131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None/>
              <a:defRPr/>
            </a:lvl1pPr>
          </a:lstStyle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77150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292" y="0"/>
            <a:ext cx="9011708" cy="827088"/>
          </a:xfrm>
          <a:prstGeom prst="rect">
            <a:avLst/>
          </a:prstGeom>
        </p:spPr>
        <p:txBody>
          <a:bodyPr lIns="95636" tIns="47818" rIns="95636" bIns="47818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2" y="1600200"/>
            <a:ext cx="8165571" cy="4343400"/>
          </a:xfrm>
          <a:prstGeom prst="rect">
            <a:avLst/>
          </a:prstGeom>
        </p:spPr>
        <p:txBody>
          <a:bodyPr lIns="95636" tIns="47818" rIns="95636" bIns="4781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934189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3" y="8"/>
          <a:ext cx="151653" cy="1501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28" name="think-cell Slide" r:id="rId8" imgW="305" imgH="305" progId="TCLayout.ActiveDocument.1">
                  <p:embed/>
                </p:oleObj>
              </mc:Choice>
              <mc:Fallback>
                <p:oleObj name="think-cell Slide" r:id="rId8" imgW="305" imgH="305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3" y="8"/>
                        <a:ext cx="151653" cy="15019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5" descr="santos-366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"/>
            <a:ext cx="9906000" cy="4523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596709" y="0"/>
            <a:ext cx="13800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714" tIns="47359" rIns="94714" bIns="47359" anchor="ctr"/>
          <a:lstStyle>
            <a:lvl1pPr defTabSz="99536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536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536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536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536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</a:pPr>
            <a:endParaRPr lang="en-US" altLang="en-US" sz="700" i="1" dirty="0" smtClean="0">
              <a:solidFill>
                <a:srgbClr val="000000"/>
              </a:solidFill>
            </a:endParaRPr>
          </a:p>
        </p:txBody>
      </p:sp>
      <p:sp>
        <p:nvSpPr>
          <p:cNvPr id="7" name="AutoShap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9526792" y="6155822"/>
            <a:ext cx="297390" cy="15772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4714" tIns="47359" rIns="94714" bIns="47359" anchor="ctr"/>
          <a:lstStyle>
            <a:lvl1pPr defTabSz="935038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5038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5038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5038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5038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</a:pPr>
            <a:endParaRPr lang="en-US" altLang="en-US" sz="700" b="0" i="1" dirty="0" smtClean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828" y="6096651"/>
            <a:ext cx="1625724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65885" name="Rectangle 29"/>
          <p:cNvSpPr>
            <a:spLocks noGrp="1" noChangeArrowheads="1"/>
          </p:cNvSpPr>
          <p:nvPr>
            <p:ph type="ctrTitle" sz="quarter"/>
          </p:nvPr>
        </p:nvSpPr>
        <p:spPr>
          <a:xfrm>
            <a:off x="486814" y="5081169"/>
            <a:ext cx="6372477" cy="40640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005" tIns="43503" rIns="87005" bIns="43503">
            <a:spAutoFit/>
          </a:bodyPr>
          <a:lstStyle>
            <a:lvl1pPr>
              <a:defRPr sz="2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3065886" name="Rectangle 3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6814" y="5327642"/>
            <a:ext cx="6372477" cy="39486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005" tIns="43503" rIns="87005" bIns="43503">
            <a:spAutoFit/>
          </a:bodyPr>
          <a:lstStyle>
            <a:lvl1pPr marL="0" indent="0">
              <a:buFont typeface="Wingdings" pitchFamily="2" charset="2"/>
              <a:buNone/>
              <a:defRPr sz="1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0090660"/>
      </p:ext>
    </p:extLst>
  </p:cSld>
  <p:clrMapOvr>
    <a:masterClrMapping/>
  </p:clrMapOvr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42743"/>
      </p:ext>
    </p:extLst>
  </p:cSld>
  <p:clrMapOvr>
    <a:masterClrMapping/>
  </p:clrMapOvr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37" y="4406784"/>
            <a:ext cx="8419797" cy="1362288"/>
          </a:xfrm>
        </p:spPr>
        <p:txBody>
          <a:bodyPr/>
          <a:lstStyle>
            <a:lvl1pPr algn="l">
              <a:defRPr sz="38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37" y="2906315"/>
            <a:ext cx="8419797" cy="1500469"/>
          </a:xfrm>
        </p:spPr>
        <p:txBody>
          <a:bodyPr anchor="b"/>
          <a:lstStyle>
            <a:lvl1pPr marL="0" indent="0">
              <a:buNone/>
              <a:defRPr sz="1900"/>
            </a:lvl1pPr>
            <a:lvl2pPr marL="435026" indent="0">
              <a:buNone/>
              <a:defRPr sz="1700"/>
            </a:lvl2pPr>
            <a:lvl3pPr marL="870052" indent="0">
              <a:buNone/>
              <a:defRPr sz="1500"/>
            </a:lvl3pPr>
            <a:lvl4pPr marL="1305077" indent="0">
              <a:buNone/>
              <a:defRPr sz="1300"/>
            </a:lvl4pPr>
            <a:lvl5pPr marL="1740103" indent="0">
              <a:buNone/>
              <a:defRPr sz="1300"/>
            </a:lvl5pPr>
            <a:lvl6pPr marL="2175129" indent="0">
              <a:buNone/>
              <a:defRPr sz="1300"/>
            </a:lvl6pPr>
            <a:lvl7pPr marL="2610155" indent="0">
              <a:buNone/>
              <a:defRPr sz="1300"/>
            </a:lvl7pPr>
            <a:lvl8pPr marL="3045181" indent="0">
              <a:buNone/>
              <a:defRPr sz="1300"/>
            </a:lvl8pPr>
            <a:lvl9pPr marL="3480206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4706107"/>
      </p:ext>
    </p:extLst>
  </p:cSld>
  <p:clrMapOvr>
    <a:masterClrMapping/>
  </p:clrMapOvr>
  <p:hf sldNum="0"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0502" y="1249647"/>
            <a:ext cx="4329704" cy="497302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5875" y="1249647"/>
            <a:ext cx="4329705" cy="497302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893900"/>
      </p:ext>
    </p:extLst>
  </p:cSld>
  <p:clrMapOvr>
    <a:masterClrMapping/>
  </p:clrMapOvr>
  <p:hf sldNum="0"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913" y="274861"/>
            <a:ext cx="891418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914" y="1535015"/>
            <a:ext cx="4376717" cy="639840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026" indent="0">
              <a:buNone/>
              <a:defRPr sz="1900" b="1"/>
            </a:lvl2pPr>
            <a:lvl3pPr marL="870052" indent="0">
              <a:buNone/>
              <a:defRPr sz="1700" b="1"/>
            </a:lvl3pPr>
            <a:lvl4pPr marL="1305077" indent="0">
              <a:buNone/>
              <a:defRPr sz="1500" b="1"/>
            </a:lvl4pPr>
            <a:lvl5pPr marL="1740103" indent="0">
              <a:buNone/>
              <a:defRPr sz="1500" b="1"/>
            </a:lvl5pPr>
            <a:lvl6pPr marL="2175129" indent="0">
              <a:buNone/>
              <a:defRPr sz="1500" b="1"/>
            </a:lvl6pPr>
            <a:lvl7pPr marL="2610155" indent="0">
              <a:buNone/>
              <a:defRPr sz="1500" b="1"/>
            </a:lvl7pPr>
            <a:lvl8pPr marL="3045181" indent="0">
              <a:buNone/>
              <a:defRPr sz="1500" b="1"/>
            </a:lvl8pPr>
            <a:lvl9pPr marL="3480206" indent="0">
              <a:buNone/>
              <a:defRPr sz="15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914" y="2174855"/>
            <a:ext cx="4376717" cy="395168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1864" y="1535015"/>
            <a:ext cx="4378234" cy="639840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026" indent="0">
              <a:buNone/>
              <a:defRPr sz="1900" b="1"/>
            </a:lvl2pPr>
            <a:lvl3pPr marL="870052" indent="0">
              <a:buNone/>
              <a:defRPr sz="1700" b="1"/>
            </a:lvl3pPr>
            <a:lvl4pPr marL="1305077" indent="0">
              <a:buNone/>
              <a:defRPr sz="1500" b="1"/>
            </a:lvl4pPr>
            <a:lvl5pPr marL="1740103" indent="0">
              <a:buNone/>
              <a:defRPr sz="1500" b="1"/>
            </a:lvl5pPr>
            <a:lvl6pPr marL="2175129" indent="0">
              <a:buNone/>
              <a:defRPr sz="1500" b="1"/>
            </a:lvl6pPr>
            <a:lvl7pPr marL="2610155" indent="0">
              <a:buNone/>
              <a:defRPr sz="1500" b="1"/>
            </a:lvl7pPr>
            <a:lvl8pPr marL="3045181" indent="0">
              <a:buNone/>
              <a:defRPr sz="1500" b="1"/>
            </a:lvl8pPr>
            <a:lvl9pPr marL="3480206" indent="0">
              <a:buNone/>
              <a:defRPr sz="15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1864" y="2174855"/>
            <a:ext cx="4378234" cy="395168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112375"/>
      </p:ext>
    </p:extLst>
  </p:cSld>
  <p:clrMapOvr>
    <a:masterClrMapping/>
  </p:clrMapOvr>
  <p:hf sldNum="0"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1192544"/>
      </p:ext>
    </p:extLst>
  </p:cSld>
  <p:clrMapOvr>
    <a:masterClrMapping/>
  </p:clrMapOvr>
  <p:hf sldNum="0"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58417"/>
      </p:ext>
    </p:extLst>
  </p:cSld>
  <p:clrMapOvr>
    <a:masterClrMapping/>
  </p:clrMapOvr>
  <p:hf sldNum="0"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913" y="273359"/>
            <a:ext cx="3259031" cy="1161024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229" y="273359"/>
            <a:ext cx="5536866" cy="5853182"/>
          </a:xfrm>
        </p:spPr>
        <p:txBody>
          <a:bodyPr/>
          <a:lstStyle>
            <a:lvl1pPr>
              <a:defRPr sz="3000"/>
            </a:lvl1pPr>
            <a:lvl2pPr>
              <a:defRPr sz="27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913" y="1434383"/>
            <a:ext cx="3259031" cy="4692158"/>
          </a:xfrm>
        </p:spPr>
        <p:txBody>
          <a:bodyPr/>
          <a:lstStyle>
            <a:lvl1pPr marL="0" indent="0">
              <a:buNone/>
              <a:defRPr sz="1300"/>
            </a:lvl1pPr>
            <a:lvl2pPr marL="435026" indent="0">
              <a:buNone/>
              <a:defRPr sz="1100"/>
            </a:lvl2pPr>
            <a:lvl3pPr marL="870052" indent="0">
              <a:buNone/>
              <a:defRPr sz="1000"/>
            </a:lvl3pPr>
            <a:lvl4pPr marL="1305077" indent="0">
              <a:buNone/>
              <a:defRPr sz="900"/>
            </a:lvl4pPr>
            <a:lvl5pPr marL="1740103" indent="0">
              <a:buNone/>
              <a:defRPr sz="900"/>
            </a:lvl5pPr>
            <a:lvl6pPr marL="2175129" indent="0">
              <a:buNone/>
              <a:defRPr sz="900"/>
            </a:lvl6pPr>
            <a:lvl7pPr marL="2610155" indent="0">
              <a:buNone/>
              <a:defRPr sz="900"/>
            </a:lvl7pPr>
            <a:lvl8pPr marL="3045181" indent="0">
              <a:buNone/>
              <a:defRPr sz="900"/>
            </a:lvl8pPr>
            <a:lvl9pPr marL="348020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5731431"/>
      </p:ext>
    </p:extLst>
  </p:cSld>
  <p:clrMapOvr>
    <a:masterClrMapping/>
  </p:clrMapOvr>
  <p:hf sldNum="0"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171" y="4800450"/>
            <a:ext cx="5944813" cy="567745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171" y="612813"/>
            <a:ext cx="5944813" cy="4115401"/>
          </a:xfrm>
        </p:spPr>
        <p:txBody>
          <a:bodyPr/>
          <a:lstStyle>
            <a:lvl1pPr marL="0" indent="0">
              <a:buNone/>
              <a:defRPr sz="3000"/>
            </a:lvl1pPr>
            <a:lvl2pPr marL="435026" indent="0">
              <a:buNone/>
              <a:defRPr sz="2700"/>
            </a:lvl2pPr>
            <a:lvl3pPr marL="870052" indent="0">
              <a:buNone/>
              <a:defRPr sz="2300"/>
            </a:lvl3pPr>
            <a:lvl4pPr marL="1305077" indent="0">
              <a:buNone/>
              <a:defRPr sz="1900"/>
            </a:lvl4pPr>
            <a:lvl5pPr marL="1740103" indent="0">
              <a:buNone/>
              <a:defRPr sz="1900"/>
            </a:lvl5pPr>
            <a:lvl6pPr marL="2175129" indent="0">
              <a:buNone/>
              <a:defRPr sz="1900"/>
            </a:lvl6pPr>
            <a:lvl7pPr marL="2610155" indent="0">
              <a:buNone/>
              <a:defRPr sz="1900"/>
            </a:lvl7pPr>
            <a:lvl8pPr marL="3045181" indent="0">
              <a:buNone/>
              <a:defRPr sz="1900"/>
            </a:lvl8pPr>
            <a:lvl9pPr marL="3480206" indent="0">
              <a:buNone/>
              <a:defRPr sz="19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171" y="5368195"/>
            <a:ext cx="5944813" cy="803555"/>
          </a:xfrm>
        </p:spPr>
        <p:txBody>
          <a:bodyPr/>
          <a:lstStyle>
            <a:lvl1pPr marL="0" indent="0">
              <a:buNone/>
              <a:defRPr sz="1300"/>
            </a:lvl1pPr>
            <a:lvl2pPr marL="435026" indent="0">
              <a:buNone/>
              <a:defRPr sz="1100"/>
            </a:lvl2pPr>
            <a:lvl3pPr marL="870052" indent="0">
              <a:buNone/>
              <a:defRPr sz="1000"/>
            </a:lvl3pPr>
            <a:lvl4pPr marL="1305077" indent="0">
              <a:buNone/>
              <a:defRPr sz="900"/>
            </a:lvl4pPr>
            <a:lvl5pPr marL="1740103" indent="0">
              <a:buNone/>
              <a:defRPr sz="900"/>
            </a:lvl5pPr>
            <a:lvl6pPr marL="2175129" indent="0">
              <a:buNone/>
              <a:defRPr sz="900"/>
            </a:lvl6pPr>
            <a:lvl7pPr marL="2610155" indent="0">
              <a:buNone/>
              <a:defRPr sz="900"/>
            </a:lvl7pPr>
            <a:lvl8pPr marL="3045181" indent="0">
              <a:buNone/>
              <a:defRPr sz="900"/>
            </a:lvl8pPr>
            <a:lvl9pPr marL="348020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307797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7062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1600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85661"/>
      </p:ext>
    </p:extLst>
  </p:cSld>
  <p:clrMapOvr>
    <a:masterClrMapping/>
  </p:clrMapOvr>
  <p:hf sldNum="0"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55008" y="455106"/>
            <a:ext cx="2200491" cy="576756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0502" y="455106"/>
            <a:ext cx="6458918" cy="576756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FF0000"/>
              </a:buCl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1946765"/>
      </p:ext>
    </p:extLst>
  </p:cSld>
  <p:clrMapOvr>
    <a:masterClrMapping/>
  </p:clrMapOvr>
  <p:hf sldNum="0"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4" y="4998368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90" y="6039541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5733" y="644843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04270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350491" y="6633376"/>
            <a:ext cx="858095" cy="180000"/>
          </a:xfrm>
          <a:prstGeom prst="rect">
            <a:avLst/>
          </a:prstGeom>
        </p:spPr>
        <p:txBody>
          <a:bodyPr lIns="0" tIns="0" rIns="0" bIns="0"/>
          <a:lstStyle/>
          <a:p>
            <a:endParaRPr lang="en-GB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2750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5733" y="644843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899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5733" y="644843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4966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5733" y="644843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3838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5733" y="644843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0182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5733" y="644843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1909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5733" y="644843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8305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6704" y="1257300"/>
            <a:ext cx="4605338" cy="5168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38" y="1257300"/>
            <a:ext cx="4605337" cy="5168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01088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5733" y="644843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5393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386" y="2042464"/>
            <a:ext cx="4523671" cy="334800"/>
          </a:xfr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5733" y="644843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89110"/>
      </p:ext>
    </p:extLst>
  </p:cSld>
  <p:clrMapOvr>
    <a:masterClrMapping/>
  </p:clrMapOvr>
  <p:hf sldNum="0"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464469"/>
      </p:ext>
    </p:extLst>
  </p:cSld>
  <p:clrMapOvr>
    <a:masterClrMapping/>
  </p:clrMapOvr>
  <p:hf sldNum="0"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2901622"/>
      </p:ext>
    </p:extLst>
  </p:cSld>
  <p:clrMapOvr>
    <a:masterClrMapping/>
  </p:clrMapOvr>
  <p:hf sldNum="0"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4784868"/>
      </p:ext>
    </p:extLst>
  </p:cSld>
  <p:clrMapOvr>
    <a:masterClrMapping/>
  </p:clrMapOvr>
  <p:hf sldNum="0"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6275" y="1709748"/>
            <a:ext cx="8543925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275" y="4589613"/>
            <a:ext cx="8543925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947031"/>
      </p:ext>
    </p:extLst>
  </p:cSld>
  <p:clrMapOvr>
    <a:masterClrMapping/>
  </p:clrMapOvr>
  <p:hf sldNum="0"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9" y="1825625"/>
            <a:ext cx="4195762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6" y="1825625"/>
            <a:ext cx="419576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099143"/>
      </p:ext>
    </p:extLst>
  </p:cSld>
  <p:clrMapOvr>
    <a:masterClrMapping/>
  </p:clrMapOvr>
  <p:hf sldNum="0"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630" y="365129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627" y="1681163"/>
            <a:ext cx="419100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627" y="2505075"/>
            <a:ext cx="419100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94" y="1681163"/>
            <a:ext cx="42116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94" y="2505075"/>
            <a:ext cx="42116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0947974"/>
      </p:ext>
    </p:extLst>
  </p:cSld>
  <p:clrMapOvr>
    <a:masterClrMapping/>
  </p:clrMapOvr>
  <p:hf sldNum="0"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0755279"/>
      </p:ext>
    </p:extLst>
  </p:cSld>
  <p:clrMapOvr>
    <a:masterClrMapping/>
  </p:clrMapOvr>
  <p:hf sldNum="0"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5716798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09566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639" y="987436"/>
            <a:ext cx="5014913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332750"/>
      </p:ext>
    </p:extLst>
  </p:cSld>
  <p:clrMapOvr>
    <a:masterClrMapping/>
  </p:clrMapOvr>
  <p:hf sldNum="0"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639" y="987436"/>
            <a:ext cx="501491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693906"/>
      </p:ext>
    </p:extLst>
  </p:cSld>
  <p:clrMapOvr>
    <a:masterClrMapping/>
  </p:clrMapOvr>
  <p:hf sldNum="0"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6066162"/>
      </p:ext>
    </p:extLst>
  </p:cSld>
  <p:clrMapOvr>
    <a:masterClrMapping/>
  </p:clrMapOvr>
  <p:hf sldNum="0"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9777" y="365125"/>
            <a:ext cx="2135188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50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00"/>
            <a:ext cx="2228850" cy="365125"/>
          </a:xfrm>
          <a:prstGeom prst="rect">
            <a:avLst/>
          </a:prstGeom>
        </p:spPr>
        <p:txBody>
          <a:bodyPr/>
          <a:lstStyle/>
          <a:p>
            <a:fld id="{115D9F85-B63D-42E9-97AA-65BB75F68D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241668"/>
      </p:ext>
    </p:extLst>
  </p:cSld>
  <p:clrMapOvr>
    <a:masterClrMapping/>
  </p:clrMapOvr>
  <p:hf sldNum="0"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4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8391" y="4998337"/>
            <a:ext cx="8900276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3200" b="1">
                <a:solidFill>
                  <a:schemeClr val="tx1"/>
                </a:solidFill>
              </a:defRPr>
            </a:lvl1pPr>
          </a:lstStyle>
          <a:p>
            <a:pPr lvl="0" fontAlgn="auto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386" y="5388357"/>
            <a:ext cx="6430723" cy="3847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GB" sz="2500" b="0"/>
            </a:lvl1pPr>
          </a:lstStyle>
          <a:p>
            <a:pPr lvl="0" fontAlgn="auto">
              <a:spcBef>
                <a:spcPct val="0"/>
              </a:spcBef>
              <a:spcAft>
                <a:spcPts val="0"/>
              </a:spcAft>
              <a:buClrTx/>
              <a:buFontTx/>
            </a:pPr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98472" y="6039511"/>
            <a:ext cx="1796967" cy="461665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1500" b="1" baseline="0"/>
            </a:lvl1pPr>
            <a:lvl2pPr marL="0" indent="0">
              <a:spcBef>
                <a:spcPts val="0"/>
              </a:spcBef>
              <a:buNone/>
              <a:defRPr sz="1500" baseline="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nter Name</a:t>
            </a:r>
          </a:p>
          <a:p>
            <a:pPr lvl="1"/>
            <a:r>
              <a:rPr lang="en-US" dirty="0" smtClean="0"/>
              <a:t>Click to enter 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0042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92" y="148432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26529" y="1484325"/>
            <a:ext cx="4172215" cy="20166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6672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21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0547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der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21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14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" y="762"/>
            <a:ext cx="9905997" cy="16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21"/>
            <a:ext cx="8891323" cy="1641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6718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7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416" y="1484321"/>
            <a:ext cx="8891323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21801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FF0000"/>
              </a:buClr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99161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alu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1"/>
            <a:ext cx="9906000" cy="16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7338" y="186813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769113" y="186813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030887" y="186813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92662" y="1868138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07338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769113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0887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292662" y="3354296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507338" y="484365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69113" y="484365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030887" y="484365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292662" y="4843650"/>
            <a:ext cx="2106000" cy="147663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800"/>
            </a:lvl1pPr>
            <a:lvl2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2pPr>
            <a:lvl3pPr marL="1588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635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4"/>
            <a:ext cx="9905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991" y="2042464"/>
            <a:ext cx="4523671" cy="334800"/>
          </a:xfrm>
        </p:spPr>
        <p:txBody>
          <a:bodyPr>
            <a:noAutofit/>
          </a:bodyPr>
          <a:lstStyle>
            <a:lvl1pPr algn="r">
              <a:defRPr sz="4000"/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154807"/>
      </p:ext>
    </p:extLst>
  </p:cSld>
  <p:clrMapOvr>
    <a:masterClrMapping/>
  </p:clrMapOvr>
  <p:hf sldNum="0"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HSBC Title Slide Cor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HSBC-WLB-blk_red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7689" y="5815203"/>
            <a:ext cx="2341562" cy="69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2495" y="2492577"/>
            <a:ext cx="8970997" cy="11526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576736"/>
      </p:ext>
    </p:extLst>
  </p:cSld>
  <p:clrMapOvr>
    <a:masterClrMapping/>
  </p:clrMapOvr>
  <p:hf sldNum="0"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SBC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495" y="1628783"/>
            <a:ext cx="8970997" cy="43925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641473"/>
      </p:ext>
    </p:extLst>
  </p:cSld>
  <p:clrMapOvr>
    <a:masterClrMapping/>
  </p:clrMapOvr>
  <p:hf sldNum="0"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SBC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271505" y="620714"/>
            <a:ext cx="8969375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4" tIns="45677" rIns="91354" bIns="45677" anchor="ctr"/>
          <a:lstStyle>
            <a:lvl1pPr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9pPr>
          </a:lstStyle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dirty="0" smtClean="0">
                <a:solidFill>
                  <a:srgbClr val="000000"/>
                </a:solidFill>
                <a:latin typeface="Calibri" pitchFamily="34" charset="0"/>
                <a:ea typeface="MS PGothic" pitchFamily="34" charset="-128"/>
              </a:rPr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2495" y="1412776"/>
            <a:ext cx="8970997" cy="460851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73" indent="0">
              <a:buNone/>
              <a:defRPr sz="1800"/>
            </a:lvl2pPr>
            <a:lvl3pPr marL="913537" indent="0">
              <a:buNone/>
              <a:defRPr sz="1600"/>
            </a:lvl3pPr>
            <a:lvl4pPr marL="1370311" indent="0">
              <a:buNone/>
              <a:defRPr sz="1400"/>
            </a:lvl4pPr>
            <a:lvl5pPr marL="1827081" indent="0">
              <a:buNone/>
              <a:defRPr sz="1400"/>
            </a:lvl5pPr>
            <a:lvl6pPr marL="2283849" indent="0">
              <a:buNone/>
              <a:defRPr sz="1400"/>
            </a:lvl6pPr>
            <a:lvl7pPr marL="2740617" indent="0">
              <a:buNone/>
              <a:defRPr sz="1400"/>
            </a:lvl7pPr>
            <a:lvl8pPr marL="3197390" indent="0">
              <a:buNone/>
              <a:defRPr sz="1400"/>
            </a:lvl8pPr>
            <a:lvl9pPr marL="3654157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830728"/>
      </p:ext>
    </p:extLst>
  </p:cSld>
  <p:clrMapOvr>
    <a:masterClrMapping/>
  </p:clrMapOvr>
  <p:hf sldNum="0"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SBC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95" y="620727"/>
            <a:ext cx="8970997" cy="504031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2480" y="1628774"/>
            <a:ext cx="4597970" cy="446452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1016" y="1628802"/>
            <a:ext cx="4207927" cy="446449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134522"/>
      </p:ext>
    </p:extLst>
  </p:cSld>
  <p:clrMapOvr>
    <a:masterClrMapping/>
  </p:clrMapOvr>
  <p:hf sldNum="0"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SBC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271463" y="3357563"/>
            <a:ext cx="89725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4" tIns="45677" rIns="91354" bIns="45677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9pPr>
          </a:lstStyle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 smtClean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333846"/>
      </p:ext>
    </p:extLst>
  </p:cSld>
  <p:clrMapOvr>
    <a:masterClrMapping/>
  </p:clrMapOvr>
  <p:hf sldNum="0"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72484" y="332663"/>
            <a:ext cx="8892290" cy="561729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486032"/>
      </p:ext>
    </p:extLst>
  </p:cSld>
  <p:clrMapOvr>
    <a:masterClrMapping/>
  </p:clrMapOvr>
  <p:hf sldNum="0"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244089"/>
      </p:ext>
    </p:extLst>
  </p:cSld>
  <p:clrMapOvr>
    <a:masterClrMapping/>
  </p:clrMapOvr>
  <p:hf sldNum="0"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SBC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1412776"/>
            <a:ext cx="5370506" cy="46085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0497" y="620714"/>
            <a:ext cx="8892988" cy="504825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28287" y="1412784"/>
            <a:ext cx="3276203" cy="46086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362611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8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87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29" Type="http://schemas.openxmlformats.org/officeDocument/2006/relationships/theme" Target="../theme/theme11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28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slideLayout" Target="../slideLayouts/slideLayout11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24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23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32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31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image" Target="../media/image11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image" Target="../media/image11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image" Target="../media/image1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78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76.xml"/><Relationship Id="rId10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2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image" Target="../media/image1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10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09.xml"/><Relationship Id="rId9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8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17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6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25.xml"/><Relationship Id="rId9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34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33.xml"/><Relationship Id="rId9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50.xml"/><Relationship Id="rId3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theme" Target="../theme/theme24.xml"/><Relationship Id="rId2" Type="http://schemas.openxmlformats.org/officeDocument/2006/relationships/slideLayout" Target="../slideLayouts/slideLayout239.xml"/><Relationship Id="rId16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5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2.xml"/><Relationship Id="rId10" Type="http://schemas.openxmlformats.org/officeDocument/2006/relationships/slideLayout" Target="../slideLayouts/slideLayout247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60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58.xml"/><Relationship Id="rId10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8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5" Type="http://schemas.openxmlformats.org/officeDocument/2006/relationships/theme" Target="../theme/theme27.xml"/><Relationship Id="rId4" Type="http://schemas.openxmlformats.org/officeDocument/2006/relationships/slideLayout" Target="../slideLayouts/slideLayout279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7.xml"/><Relationship Id="rId13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82.xml"/><Relationship Id="rId7" Type="http://schemas.openxmlformats.org/officeDocument/2006/relationships/slideLayout" Target="../slideLayouts/slideLayout286.xml"/><Relationship Id="rId12" Type="http://schemas.openxmlformats.org/officeDocument/2006/relationships/slideLayout" Target="../slideLayouts/slideLayout291.xml"/><Relationship Id="rId2" Type="http://schemas.openxmlformats.org/officeDocument/2006/relationships/slideLayout" Target="../slideLayouts/slideLayout281.xml"/><Relationship Id="rId1" Type="http://schemas.openxmlformats.org/officeDocument/2006/relationships/slideLayout" Target="../slideLayouts/slideLayout280.xml"/><Relationship Id="rId6" Type="http://schemas.openxmlformats.org/officeDocument/2006/relationships/slideLayout" Target="../slideLayouts/slideLayout285.xml"/><Relationship Id="rId11" Type="http://schemas.openxmlformats.org/officeDocument/2006/relationships/slideLayout" Target="../slideLayouts/slideLayout290.xml"/><Relationship Id="rId5" Type="http://schemas.openxmlformats.org/officeDocument/2006/relationships/slideLayout" Target="../slideLayouts/slideLayout284.xml"/><Relationship Id="rId10" Type="http://schemas.openxmlformats.org/officeDocument/2006/relationships/slideLayout" Target="../slideLayouts/slideLayout289.xml"/><Relationship Id="rId4" Type="http://schemas.openxmlformats.org/officeDocument/2006/relationships/slideLayout" Target="../slideLayouts/slideLayout283.xml"/><Relationship Id="rId9" Type="http://schemas.openxmlformats.org/officeDocument/2006/relationships/slideLayout" Target="../slideLayouts/slideLayout288.xml"/><Relationship Id="rId14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0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295.xml"/><Relationship Id="rId7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94.xml"/><Relationship Id="rId1" Type="http://schemas.openxmlformats.org/officeDocument/2006/relationships/slideLayout" Target="../slideLayouts/slideLayout293.xml"/><Relationship Id="rId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303.xml"/><Relationship Id="rId5" Type="http://schemas.openxmlformats.org/officeDocument/2006/relationships/slideLayout" Target="../slideLayouts/slideLayout297.xml"/><Relationship Id="rId10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96.xml"/><Relationship Id="rId9" Type="http://schemas.openxmlformats.org/officeDocument/2006/relationships/slideLayout" Target="../slideLayouts/slideLayout301.xml"/><Relationship Id="rId14" Type="http://schemas.openxmlformats.org/officeDocument/2006/relationships/image" Target="../media/image1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2.xml"/><Relationship Id="rId13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307.xml"/><Relationship Id="rId7" Type="http://schemas.openxmlformats.org/officeDocument/2006/relationships/slideLayout" Target="../slideLayouts/slideLayout311.xml"/><Relationship Id="rId12" Type="http://schemas.openxmlformats.org/officeDocument/2006/relationships/slideLayout" Target="../slideLayouts/slideLayout316.xml"/><Relationship Id="rId2" Type="http://schemas.openxmlformats.org/officeDocument/2006/relationships/slideLayout" Target="../slideLayouts/slideLayout306.xml"/><Relationship Id="rId1" Type="http://schemas.openxmlformats.org/officeDocument/2006/relationships/slideLayout" Target="../slideLayouts/slideLayout305.xml"/><Relationship Id="rId6" Type="http://schemas.openxmlformats.org/officeDocument/2006/relationships/slideLayout" Target="../slideLayouts/slideLayout310.xml"/><Relationship Id="rId11" Type="http://schemas.openxmlformats.org/officeDocument/2006/relationships/slideLayout" Target="../slideLayouts/slideLayout315.xml"/><Relationship Id="rId5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314.xml"/><Relationship Id="rId4" Type="http://schemas.openxmlformats.org/officeDocument/2006/relationships/slideLayout" Target="../slideLayouts/slideLayout308.xml"/><Relationship Id="rId9" Type="http://schemas.openxmlformats.org/officeDocument/2006/relationships/slideLayout" Target="../slideLayouts/slideLayout313.xml"/><Relationship Id="rId14" Type="http://schemas.openxmlformats.org/officeDocument/2006/relationships/theme" Target="../theme/theme30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320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319.xml"/><Relationship Id="rId1" Type="http://schemas.openxmlformats.org/officeDocument/2006/relationships/slideLayout" Target="../slideLayouts/slideLayout318.xml"/><Relationship Id="rId6" Type="http://schemas.openxmlformats.org/officeDocument/2006/relationships/theme" Target="../theme/theme31.xml"/><Relationship Id="rId5" Type="http://schemas.openxmlformats.org/officeDocument/2006/relationships/slideLayout" Target="../slideLayouts/slideLayout322.xml"/><Relationship Id="rId10" Type="http://schemas.openxmlformats.org/officeDocument/2006/relationships/image" Target="../media/image23.emf"/><Relationship Id="rId4" Type="http://schemas.openxmlformats.org/officeDocument/2006/relationships/slideLayout" Target="../slideLayouts/slideLayout321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6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468614" y="294387"/>
            <a:ext cx="8964001" cy="54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3157" name="Rectangle 85"/>
          <p:cNvSpPr>
            <a:spLocks noChangeArrowheads="1"/>
          </p:cNvSpPr>
          <p:nvPr/>
        </p:nvSpPr>
        <p:spPr bwMode="auto">
          <a:xfrm>
            <a:off x="206332" y="294387"/>
            <a:ext cx="138005" cy="545216"/>
          </a:xfrm>
          <a:prstGeom prst="rect">
            <a:avLst/>
          </a:prstGeom>
          <a:solidFill>
            <a:schemeClr val="tx2"/>
          </a:solidFill>
          <a:ln w="63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none" lIns="91427" tIns="45715" rIns="91427" bIns="45715" anchor="ctr"/>
          <a:lstStyle/>
          <a:p>
            <a:pPr defTabSz="857968">
              <a:spcBef>
                <a:spcPct val="50000"/>
              </a:spcBef>
            </a:pPr>
            <a:endParaRPr lang="en-US" sz="700" b="0" i="1" dirty="0">
              <a:solidFill>
                <a:srgbClr val="000000"/>
              </a:solidFill>
            </a:endParaRPr>
          </a:p>
        </p:txBody>
      </p:sp>
      <p:sp>
        <p:nvSpPr>
          <p:cNvPr id="3230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614" y="1249647"/>
            <a:ext cx="8964001" cy="4973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0552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Click to edit Master text styles</a:t>
            </a:r>
          </a:p>
          <a:p>
            <a:pPr lvl="2"/>
            <a:r>
              <a:rPr lang="en-GB" dirty="0" smtClean="0"/>
              <a:t>Click to edit Master text styles</a:t>
            </a:r>
          </a:p>
          <a:p>
            <a:pPr lvl="3"/>
            <a:r>
              <a:rPr lang="en-GB" dirty="0" smtClean="0"/>
              <a:t>Click to edit Master text styles</a:t>
            </a:r>
          </a:p>
        </p:txBody>
      </p:sp>
      <p:sp>
        <p:nvSpPr>
          <p:cNvPr id="1420" name="Rectangle 396"/>
          <p:cNvSpPr>
            <a:spLocks noChangeArrowheads="1"/>
          </p:cNvSpPr>
          <p:nvPr/>
        </p:nvSpPr>
        <p:spPr bwMode="auto">
          <a:xfrm>
            <a:off x="9544335" y="650758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57968"/>
            <a:fld id="{A564C285-5F10-44A2-8A8B-5D549D920122}" type="slidenum">
              <a:rPr lang="en-GB" sz="1000" b="0">
                <a:solidFill>
                  <a:srgbClr val="000000"/>
                </a:solidFill>
              </a:rPr>
              <a:pPr algn="r" defTabSz="857968"/>
              <a:t>‹#›</a:t>
            </a:fld>
            <a:endParaRPr lang="en-GB" sz="1000" b="0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11400" y="6441427"/>
            <a:ext cx="68320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i="1" dirty="0" smtClean="0">
                <a:solidFill>
                  <a:schemeClr val="tx2"/>
                </a:solidFill>
              </a:rPr>
              <a:t>- Draft -</a:t>
            </a:r>
            <a:endParaRPr lang="en-GB" i="1" dirty="0">
              <a:solidFill>
                <a:schemeClr val="tx2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384550" y="6356504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1" r:id="rId2"/>
    <p:sldLayoutId id="2147483766" r:id="rId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8712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11087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2pPr>
      <a:lvl3pPr algn="l" defTabSz="11087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3pPr>
      <a:lvl4pPr algn="l" defTabSz="11087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4pPr>
      <a:lvl5pPr algn="l" defTabSz="110871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5pPr>
      <a:lvl6pPr marL="435026" algn="l" defTabSz="1055844" rtl="0" eaLnBrk="1" fontAlgn="base" hangingPunct="1">
        <a:spcBef>
          <a:spcPct val="0"/>
        </a:spcBef>
        <a:spcAft>
          <a:spcPct val="0"/>
        </a:spcAft>
        <a:defRPr sz="2300">
          <a:solidFill>
            <a:schemeClr val="accent1"/>
          </a:solidFill>
          <a:latin typeface="Arial" charset="0"/>
          <a:cs typeface="Arial" charset="0"/>
        </a:defRPr>
      </a:lvl6pPr>
      <a:lvl7pPr marL="870052" algn="l" defTabSz="1055844" rtl="0" eaLnBrk="1" fontAlgn="base" hangingPunct="1">
        <a:spcBef>
          <a:spcPct val="0"/>
        </a:spcBef>
        <a:spcAft>
          <a:spcPct val="0"/>
        </a:spcAft>
        <a:defRPr sz="2300">
          <a:solidFill>
            <a:schemeClr val="accent1"/>
          </a:solidFill>
          <a:latin typeface="Arial" charset="0"/>
          <a:cs typeface="Arial" charset="0"/>
        </a:defRPr>
      </a:lvl7pPr>
      <a:lvl8pPr marL="1305077" algn="l" defTabSz="1055844" rtl="0" eaLnBrk="1" fontAlgn="base" hangingPunct="1">
        <a:spcBef>
          <a:spcPct val="0"/>
        </a:spcBef>
        <a:spcAft>
          <a:spcPct val="0"/>
        </a:spcAft>
        <a:defRPr sz="2300">
          <a:solidFill>
            <a:schemeClr val="accent1"/>
          </a:solidFill>
          <a:latin typeface="Arial" charset="0"/>
          <a:cs typeface="Arial" charset="0"/>
        </a:defRPr>
      </a:lvl8pPr>
      <a:lvl9pPr marL="1740103" algn="l" defTabSz="1055844" rtl="0" eaLnBrk="1" fontAlgn="base" hangingPunct="1">
        <a:spcBef>
          <a:spcPct val="0"/>
        </a:spcBef>
        <a:spcAft>
          <a:spcPct val="0"/>
        </a:spcAft>
        <a:defRPr sz="23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214492" indent="-214492" algn="l" defTabSz="85796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44089" indent="-228087" algn="l" defTabSz="85796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00">
          <a:solidFill>
            <a:schemeClr val="tx1"/>
          </a:solidFill>
          <a:latin typeface="+mn-lt"/>
          <a:cs typeface="+mn-cs"/>
        </a:defRPr>
      </a:lvl2pPr>
      <a:lvl3pPr marL="658581" indent="-212982" algn="l" defTabSz="85796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00">
          <a:solidFill>
            <a:schemeClr val="tx1"/>
          </a:solidFill>
          <a:latin typeface="+mn-lt"/>
          <a:cs typeface="+mn-cs"/>
        </a:defRPr>
      </a:lvl3pPr>
      <a:lvl4pPr marL="873073" indent="-212982" algn="l" defTabSz="85796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00">
          <a:solidFill>
            <a:schemeClr val="tx1"/>
          </a:solidFill>
          <a:latin typeface="+mn-lt"/>
          <a:cs typeface="+mn-cs"/>
        </a:defRPr>
      </a:lvl4pPr>
      <a:lvl5pPr marL="1087565" indent="-212982" algn="l" defTabSz="1108712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900">
          <a:solidFill>
            <a:schemeClr val="tx1"/>
          </a:solidFill>
          <a:latin typeface="+mn-lt"/>
          <a:cs typeface="+mn-cs"/>
        </a:defRPr>
      </a:lvl5pPr>
      <a:lvl6pPr marL="1469723" indent="-202408" algn="l" defTabSz="105584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6pPr>
      <a:lvl7pPr marL="1904749" indent="-202408" algn="l" defTabSz="105584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7pPr>
      <a:lvl8pPr marL="2339775" indent="-202408" algn="l" defTabSz="105584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8pPr>
      <a:lvl9pPr marL="2774800" indent="-202408" algn="l" defTabSz="1055844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5026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0052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5077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0103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5129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0155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45181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80206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7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2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81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40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5223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1463" y="620714"/>
            <a:ext cx="89725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4" tIns="45677" rIns="91354" bIns="4567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28775"/>
            <a:ext cx="8972550" cy="410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4" tIns="45677" rIns="91354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8" name="Rectangle 8"/>
          <p:cNvSpPr>
            <a:spLocks noChangeArrowheads="1"/>
          </p:cNvSpPr>
          <p:nvPr/>
        </p:nvSpPr>
        <p:spPr bwMode="auto">
          <a:xfrm rot="-2760000">
            <a:off x="9500394" y="6084094"/>
            <a:ext cx="228600" cy="2524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4" tIns="45677" rIns="91354" bIns="45677" anchor="ctr"/>
          <a:lstStyle/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29" name="Rectangle 10"/>
          <p:cNvSpPr>
            <a:spLocks noChangeArrowheads="1"/>
          </p:cNvSpPr>
          <p:nvPr/>
        </p:nvSpPr>
        <p:spPr bwMode="auto">
          <a:xfrm rot="-2760000">
            <a:off x="9500394" y="6084094"/>
            <a:ext cx="228600" cy="2524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4" tIns="45677" rIns="91354" bIns="45677" anchor="ctr"/>
          <a:lstStyle/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2" name="Text Box 11"/>
          <p:cNvSpPr txBox="1">
            <a:spLocks noChangeArrowheads="1"/>
          </p:cNvSpPr>
          <p:nvPr/>
        </p:nvSpPr>
        <p:spPr bwMode="auto">
          <a:xfrm>
            <a:off x="8385185" y="6524819"/>
            <a:ext cx="1520825" cy="2830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354" tIns="45677" rIns="35966" bIns="45677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 smtClean="0">
                <a:solidFill>
                  <a:srgbClr val="000000"/>
                </a:solidFill>
                <a:latin typeface="Calibri" pitchFamily="34" charset="0"/>
                <a:cs typeface="+mn-cs"/>
              </a:rPr>
              <a:t>   </a:t>
            </a:r>
            <a:fld id="{0C796690-FDD6-4C2E-98ED-E9F86DD4B398}" type="slidenum">
              <a:rPr lang="en-GB" sz="1200" b="0" smtClean="0">
                <a:solidFill>
                  <a:srgbClr val="000000"/>
                </a:solidFill>
                <a:latin typeface="Calibri" pitchFamily="34" charset="0"/>
                <a:cs typeface="+mn-cs"/>
              </a:rPr>
              <a:pPr algn="l" defTabSz="91353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200" b="0" dirty="0">
              <a:solidFill>
                <a:srgbClr val="000000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055" name="TextBox 8"/>
          <p:cNvSpPr txBox="1">
            <a:spLocks noChangeArrowheads="1"/>
          </p:cNvSpPr>
          <p:nvPr/>
        </p:nvSpPr>
        <p:spPr bwMode="auto">
          <a:xfrm>
            <a:off x="117477" y="6381756"/>
            <a:ext cx="171608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4" tIns="45677" rIns="91354" bIns="45677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PMingLiU" pitchFamily="18" charset="-120"/>
              </a:defRPr>
            </a:lvl9pPr>
          </a:lstStyle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 smtClean="0">
              <a:solidFill>
                <a:srgbClr val="FF0000"/>
              </a:solidFill>
            </a:endParaRPr>
          </a:p>
        </p:txBody>
      </p:sp>
      <p:cxnSp>
        <p:nvCxnSpPr>
          <p:cNvPr id="2" name="AutoShape 3"/>
          <p:cNvCxnSpPr>
            <a:cxnSpLocks noChangeShapeType="1"/>
          </p:cNvCxnSpPr>
          <p:nvPr/>
        </p:nvCxnSpPr>
        <p:spPr bwMode="auto">
          <a:xfrm>
            <a:off x="9548813" y="0"/>
            <a:ext cx="0" cy="6858000"/>
          </a:xfrm>
          <a:prstGeom prst="straightConnector1">
            <a:avLst/>
          </a:prstGeom>
          <a:noFill/>
          <a:ln w="179959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3" name="AutoShape 4"/>
          <p:cNvSpPr>
            <a:spLocks noChangeArrowheads="1"/>
          </p:cNvSpPr>
          <p:nvPr/>
        </p:nvSpPr>
        <p:spPr bwMode="auto">
          <a:xfrm rot="-5400000">
            <a:off x="9381332" y="5901728"/>
            <a:ext cx="360362" cy="193675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4" tIns="45677" rIns="91354" bIns="45677"/>
          <a:lstStyle/>
          <a:p>
            <a:pPr algn="l" defTabSz="913537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b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384559" y="6356509"/>
            <a:ext cx="3136900" cy="365125"/>
          </a:xfrm>
          <a:prstGeom prst="rect">
            <a:avLst/>
          </a:prstGeom>
        </p:spPr>
        <p:txBody>
          <a:bodyPr vert="horz" lIns="91354" tIns="45677" rIns="91354" bIns="4567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537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22118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  <p:sldLayoutId id="2147483879" r:id="rId12"/>
    <p:sldLayoutId id="2147483880" r:id="rId13"/>
    <p:sldLayoutId id="2147483881" r:id="rId14"/>
    <p:sldLayoutId id="2147483882" r:id="rId15"/>
    <p:sldLayoutId id="2147483883" r:id="rId16"/>
    <p:sldLayoutId id="2147483884" r:id="rId17"/>
    <p:sldLayoutId id="2147483885" r:id="rId18"/>
    <p:sldLayoutId id="2147483886" r:id="rId19"/>
    <p:sldLayoutId id="2147483887" r:id="rId20"/>
    <p:sldLayoutId id="2147483888" r:id="rId21"/>
    <p:sldLayoutId id="2147483889" r:id="rId22"/>
    <p:sldLayoutId id="2147483890" r:id="rId23"/>
    <p:sldLayoutId id="2147483891" r:id="rId24"/>
    <p:sldLayoutId id="2147483892" r:id="rId25"/>
    <p:sldLayoutId id="2147483893" r:id="rId26"/>
    <p:sldLayoutId id="2147483894" r:id="rId27"/>
    <p:sldLayoutId id="2147483895" r:id="rId28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ea typeface="MS PGothic" pitchFamily="34" charset="-128"/>
          <a:cs typeface="MS PGothic"/>
        </a:defRPr>
      </a:lvl5pPr>
      <a:lvl6pPr marL="45677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ea typeface="MS PGothic" pitchFamily="34" charset="-128"/>
        </a:defRPr>
      </a:lvl6pPr>
      <a:lvl7pPr marL="91353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ea typeface="MS PGothic" pitchFamily="34" charset="-128"/>
        </a:defRPr>
      </a:lvl7pPr>
      <a:lvl8pPr marL="1370311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ea typeface="MS PGothic" pitchFamily="34" charset="-128"/>
        </a:defRPr>
      </a:lvl8pPr>
      <a:lvl9pPr marL="1827081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  <a:ea typeface="MS PGothic" pitchFamily="34" charset="-128"/>
        </a:defRPr>
      </a:lvl9pPr>
    </p:titleStyle>
    <p:bodyStyle>
      <a:lvl1pPr marL="342577" indent="-342577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  <a:cs typeface="MS PGothic"/>
        </a:defRPr>
      </a:lvl1pPr>
      <a:lvl2pPr marL="742251" indent="-285482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  <a:cs typeface="MS PGothic"/>
        </a:defRPr>
      </a:lvl2pPr>
      <a:lvl3pPr marL="1141925" indent="-228386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  <a:cs typeface="MS PGothic"/>
        </a:defRPr>
      </a:lvl3pPr>
      <a:lvl4pPr marL="1598694" indent="-228386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  <a:cs typeface="MS PGothic"/>
        </a:defRPr>
      </a:lvl4pPr>
      <a:lvl5pPr marL="2055465" indent="-228386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  <a:cs typeface="MS PGothic"/>
        </a:defRPr>
      </a:lvl5pPr>
      <a:lvl6pPr marL="2512236" indent="-228386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</a:defRPr>
      </a:lvl6pPr>
      <a:lvl7pPr marL="2969004" indent="-228386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</a:defRPr>
      </a:lvl7pPr>
      <a:lvl8pPr marL="3425776" indent="-228386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</a:defRPr>
      </a:lvl8pPr>
      <a:lvl9pPr marL="3882545" indent="-228386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73" algn="l" defTabSz="913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37" algn="l" defTabSz="913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11" algn="l" defTabSz="913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81" algn="l" defTabSz="913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49" algn="l" defTabSz="913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617" algn="l" defTabSz="913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390" algn="l" defTabSz="913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157" algn="l" defTabSz="913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7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21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79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98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0802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77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94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082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79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98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026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4" r:id="rId9"/>
    <p:sldLayoutId id="2147483925" r:id="rId10"/>
    <p:sldLayoutId id="2147483926" r:id="rId11"/>
    <p:sldLayoutId id="2147484045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74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88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7115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67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76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3924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60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6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0787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5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51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46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900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8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41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28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4856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2138" y="1257300"/>
            <a:ext cx="9037637" cy="5168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35995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Click to edit Master text styles</a:t>
            </a:r>
          </a:p>
          <a:p>
            <a:pPr lvl="2"/>
            <a:r>
              <a:rPr lang="en-GB" smtClean="0"/>
              <a:t>Click to edit Master text styles</a:t>
            </a:r>
          </a:p>
        </p:txBody>
      </p:sp>
      <p:sp>
        <p:nvSpPr>
          <p:cNvPr id="2051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92143" y="484188"/>
            <a:ext cx="76946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title style</a:t>
            </a:r>
          </a:p>
        </p:txBody>
      </p:sp>
      <p:sp>
        <p:nvSpPr>
          <p:cNvPr id="2052" name="Rectangle 43"/>
          <p:cNvSpPr>
            <a:spLocks noChangeArrowheads="1"/>
          </p:cNvSpPr>
          <p:nvPr/>
        </p:nvSpPr>
        <p:spPr bwMode="gray">
          <a:xfrm>
            <a:off x="282582" y="11"/>
            <a:ext cx="149225" cy="107632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8" tIns="45715" rIns="91428" bIns="45715" anchor="ctr"/>
          <a:lstStyle/>
          <a:p>
            <a:pPr algn="l" defTabSz="858838">
              <a:spcBef>
                <a:spcPct val="50000"/>
              </a:spcBef>
            </a:pPr>
            <a:endParaRPr lang="en-US" sz="600" b="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53" name="Group 44"/>
          <p:cNvGrpSpPr>
            <a:grpSpLocks noChangeAspect="1"/>
          </p:cNvGrpSpPr>
          <p:nvPr/>
        </p:nvGrpSpPr>
        <p:grpSpPr bwMode="auto">
          <a:xfrm>
            <a:off x="8407408" y="527212"/>
            <a:ext cx="1220788" cy="214313"/>
            <a:chOff x="4834" y="3929"/>
            <a:chExt cx="1134" cy="199"/>
          </a:xfrm>
        </p:grpSpPr>
        <p:sp>
          <p:nvSpPr>
            <p:cNvPr id="2056" name="AutoShape 45"/>
            <p:cNvSpPr>
              <a:spLocks noChangeAspect="1" noChangeArrowheads="1" noTextEdit="1"/>
            </p:cNvSpPr>
            <p:nvPr userDrawn="1"/>
          </p:nvSpPr>
          <p:spPr bwMode="auto">
            <a:xfrm>
              <a:off x="4834" y="3929"/>
              <a:ext cx="1134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57" name="Freeform 46"/>
            <p:cNvSpPr>
              <a:spLocks noEditPoints="1"/>
            </p:cNvSpPr>
            <p:nvPr userDrawn="1"/>
          </p:nvSpPr>
          <p:spPr bwMode="auto">
            <a:xfrm>
              <a:off x="4834" y="3928"/>
              <a:ext cx="335" cy="199"/>
            </a:xfrm>
            <a:custGeom>
              <a:avLst/>
              <a:gdLst>
                <a:gd name="T0" fmla="*/ 9 w 415"/>
                <a:gd name="T1" fmla="*/ 4 h 246"/>
                <a:gd name="T2" fmla="*/ 8 w 415"/>
                <a:gd name="T3" fmla="*/ 5 h 246"/>
                <a:gd name="T4" fmla="*/ 7 w 415"/>
                <a:gd name="T5" fmla="*/ 5 h 246"/>
                <a:gd name="T6" fmla="*/ 6 w 415"/>
                <a:gd name="T7" fmla="*/ 5 h 246"/>
                <a:gd name="T8" fmla="*/ 6 w 415"/>
                <a:gd name="T9" fmla="*/ 5 h 246"/>
                <a:gd name="T10" fmla="*/ 6 w 415"/>
                <a:gd name="T11" fmla="*/ 5 h 246"/>
                <a:gd name="T12" fmla="*/ 5 w 415"/>
                <a:gd name="T13" fmla="*/ 5 h 246"/>
                <a:gd name="T14" fmla="*/ 5 w 415"/>
                <a:gd name="T15" fmla="*/ 3 h 246"/>
                <a:gd name="T16" fmla="*/ 6 w 415"/>
                <a:gd name="T17" fmla="*/ 5 h 246"/>
                <a:gd name="T18" fmla="*/ 7 w 415"/>
                <a:gd name="T19" fmla="*/ 5 h 246"/>
                <a:gd name="T20" fmla="*/ 8 w 415"/>
                <a:gd name="T21" fmla="*/ 5 h 246"/>
                <a:gd name="T22" fmla="*/ 8 w 415"/>
                <a:gd name="T23" fmla="*/ 4 h 246"/>
                <a:gd name="T24" fmla="*/ 8 w 415"/>
                <a:gd name="T25" fmla="*/ 3 h 246"/>
                <a:gd name="T26" fmla="*/ 6 w 415"/>
                <a:gd name="T27" fmla="*/ 2 h 246"/>
                <a:gd name="T28" fmla="*/ 5 w 415"/>
                <a:gd name="T29" fmla="*/ 2 h 246"/>
                <a:gd name="T30" fmla="*/ 5 w 415"/>
                <a:gd name="T31" fmla="*/ 2 h 246"/>
                <a:gd name="T32" fmla="*/ 6 w 415"/>
                <a:gd name="T33" fmla="*/ 2 h 246"/>
                <a:gd name="T34" fmla="*/ 8 w 415"/>
                <a:gd name="T35" fmla="*/ 2 h 246"/>
                <a:gd name="T36" fmla="*/ 8 w 415"/>
                <a:gd name="T37" fmla="*/ 2 h 246"/>
                <a:gd name="T38" fmla="*/ 8 w 415"/>
                <a:gd name="T39" fmla="*/ 2 h 246"/>
                <a:gd name="T40" fmla="*/ 8 w 415"/>
                <a:gd name="T41" fmla="*/ 1 h 246"/>
                <a:gd name="T42" fmla="*/ 8 w 415"/>
                <a:gd name="T43" fmla="*/ 2 h 246"/>
                <a:gd name="T44" fmla="*/ 8 w 415"/>
                <a:gd name="T45" fmla="*/ 2 h 246"/>
                <a:gd name="T46" fmla="*/ 7 w 415"/>
                <a:gd name="T47" fmla="*/ 2 h 246"/>
                <a:gd name="T48" fmla="*/ 6 w 415"/>
                <a:gd name="T49" fmla="*/ 2 h 246"/>
                <a:gd name="T50" fmla="*/ 6 w 415"/>
                <a:gd name="T51" fmla="*/ 2 h 246"/>
                <a:gd name="T52" fmla="*/ 6 w 415"/>
                <a:gd name="T53" fmla="*/ 2 h 246"/>
                <a:gd name="T54" fmla="*/ 8 w 415"/>
                <a:gd name="T55" fmla="*/ 2 h 246"/>
                <a:gd name="T56" fmla="*/ 8 w 415"/>
                <a:gd name="T57" fmla="*/ 3 h 246"/>
                <a:gd name="T58" fmla="*/ 4 w 415"/>
                <a:gd name="T59" fmla="*/ 5 h 246"/>
                <a:gd name="T60" fmla="*/ 3 w 415"/>
                <a:gd name="T61" fmla="*/ 5 h 246"/>
                <a:gd name="T62" fmla="*/ 3 w 415"/>
                <a:gd name="T63" fmla="*/ 5 h 246"/>
                <a:gd name="T64" fmla="*/ 5 w 415"/>
                <a:gd name="T65" fmla="*/ 5 h 246"/>
                <a:gd name="T66" fmla="*/ 5 w 415"/>
                <a:gd name="T67" fmla="*/ 5 h 246"/>
                <a:gd name="T68" fmla="*/ 4 w 415"/>
                <a:gd name="T69" fmla="*/ 2 h 246"/>
                <a:gd name="T70" fmla="*/ 5 w 415"/>
                <a:gd name="T71" fmla="*/ 2 h 246"/>
                <a:gd name="T72" fmla="*/ 5 w 415"/>
                <a:gd name="T73" fmla="*/ 2 h 246"/>
                <a:gd name="T74" fmla="*/ 3 w 415"/>
                <a:gd name="T75" fmla="*/ 2 h 246"/>
                <a:gd name="T76" fmla="*/ 3 w 415"/>
                <a:gd name="T77" fmla="*/ 2 h 246"/>
                <a:gd name="T78" fmla="*/ 4 w 415"/>
                <a:gd name="T79" fmla="*/ 2 h 246"/>
                <a:gd name="T80" fmla="*/ 2 w 415"/>
                <a:gd name="T81" fmla="*/ 2 h 246"/>
                <a:gd name="T82" fmla="*/ 2 w 415"/>
                <a:gd name="T83" fmla="*/ 2 h 246"/>
                <a:gd name="T84" fmla="*/ 2 w 415"/>
                <a:gd name="T85" fmla="*/ 2 h 246"/>
                <a:gd name="T86" fmla="*/ 0 w 415"/>
                <a:gd name="T87" fmla="*/ 2 h 246"/>
                <a:gd name="T88" fmla="*/ 2 w 415"/>
                <a:gd name="T89" fmla="*/ 2 h 246"/>
                <a:gd name="T90" fmla="*/ 2 w 415"/>
                <a:gd name="T91" fmla="*/ 5 h 246"/>
                <a:gd name="T92" fmla="*/ 2 w 415"/>
                <a:gd name="T93" fmla="*/ 5 h 246"/>
                <a:gd name="T94" fmla="*/ 0 w 415"/>
                <a:gd name="T95" fmla="*/ 5 h 246"/>
                <a:gd name="T96" fmla="*/ 2 w 415"/>
                <a:gd name="T97" fmla="*/ 5 h 246"/>
                <a:gd name="T98" fmla="*/ 2 w 415"/>
                <a:gd name="T99" fmla="*/ 5 h 246"/>
                <a:gd name="T100" fmla="*/ 2 w 415"/>
                <a:gd name="T101" fmla="*/ 2 h 24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15" h="246">
                  <a:moveTo>
                    <a:pt x="408" y="153"/>
                  </a:moveTo>
                  <a:cubicBezTo>
                    <a:pt x="413" y="161"/>
                    <a:pt x="415" y="170"/>
                    <a:pt x="415" y="180"/>
                  </a:cubicBezTo>
                  <a:cubicBezTo>
                    <a:pt x="415" y="188"/>
                    <a:pt x="413" y="196"/>
                    <a:pt x="409" y="205"/>
                  </a:cubicBezTo>
                  <a:cubicBezTo>
                    <a:pt x="406" y="214"/>
                    <a:pt x="401" y="221"/>
                    <a:pt x="395" y="227"/>
                  </a:cubicBezTo>
                  <a:cubicBezTo>
                    <a:pt x="388" y="233"/>
                    <a:pt x="381" y="237"/>
                    <a:pt x="374" y="240"/>
                  </a:cubicBezTo>
                  <a:cubicBezTo>
                    <a:pt x="365" y="244"/>
                    <a:pt x="355" y="246"/>
                    <a:pt x="345" y="246"/>
                  </a:cubicBezTo>
                  <a:cubicBezTo>
                    <a:pt x="337" y="246"/>
                    <a:pt x="328" y="245"/>
                    <a:pt x="318" y="242"/>
                  </a:cubicBezTo>
                  <a:cubicBezTo>
                    <a:pt x="309" y="238"/>
                    <a:pt x="299" y="234"/>
                    <a:pt x="290" y="230"/>
                  </a:cubicBezTo>
                  <a:cubicBezTo>
                    <a:pt x="288" y="229"/>
                    <a:pt x="287" y="229"/>
                    <a:pt x="286" y="229"/>
                  </a:cubicBezTo>
                  <a:cubicBezTo>
                    <a:pt x="285" y="229"/>
                    <a:pt x="284" y="229"/>
                    <a:pt x="283" y="229"/>
                  </a:cubicBezTo>
                  <a:cubicBezTo>
                    <a:pt x="280" y="229"/>
                    <a:pt x="277" y="229"/>
                    <a:pt x="275" y="231"/>
                  </a:cubicBezTo>
                  <a:cubicBezTo>
                    <a:pt x="273" y="232"/>
                    <a:pt x="271" y="234"/>
                    <a:pt x="270" y="236"/>
                  </a:cubicBezTo>
                  <a:cubicBezTo>
                    <a:pt x="268" y="239"/>
                    <a:pt x="268" y="242"/>
                    <a:pt x="267" y="246"/>
                  </a:cubicBezTo>
                  <a:cubicBezTo>
                    <a:pt x="263" y="246"/>
                    <a:pt x="263" y="246"/>
                    <a:pt x="263" y="246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7" y="163"/>
                    <a:pt x="267" y="163"/>
                    <a:pt x="267" y="163"/>
                  </a:cubicBezTo>
                  <a:cubicBezTo>
                    <a:pt x="269" y="174"/>
                    <a:pt x="272" y="184"/>
                    <a:pt x="277" y="194"/>
                  </a:cubicBezTo>
                  <a:cubicBezTo>
                    <a:pt x="280" y="200"/>
                    <a:pt x="284" y="206"/>
                    <a:pt x="290" y="212"/>
                  </a:cubicBezTo>
                  <a:cubicBezTo>
                    <a:pt x="295" y="218"/>
                    <a:pt x="301" y="222"/>
                    <a:pt x="310" y="226"/>
                  </a:cubicBezTo>
                  <a:cubicBezTo>
                    <a:pt x="318" y="229"/>
                    <a:pt x="327" y="231"/>
                    <a:pt x="336" y="231"/>
                  </a:cubicBezTo>
                  <a:cubicBezTo>
                    <a:pt x="340" y="231"/>
                    <a:pt x="344" y="230"/>
                    <a:pt x="347" y="230"/>
                  </a:cubicBezTo>
                  <a:cubicBezTo>
                    <a:pt x="355" y="229"/>
                    <a:pt x="363" y="224"/>
                    <a:pt x="370" y="216"/>
                  </a:cubicBezTo>
                  <a:cubicBezTo>
                    <a:pt x="378" y="208"/>
                    <a:pt x="381" y="199"/>
                    <a:pt x="381" y="188"/>
                  </a:cubicBezTo>
                  <a:cubicBezTo>
                    <a:pt x="381" y="187"/>
                    <a:pt x="381" y="185"/>
                    <a:pt x="381" y="185"/>
                  </a:cubicBezTo>
                  <a:cubicBezTo>
                    <a:pt x="381" y="179"/>
                    <a:pt x="379" y="174"/>
                    <a:pt x="377" y="170"/>
                  </a:cubicBezTo>
                  <a:cubicBezTo>
                    <a:pt x="374" y="163"/>
                    <a:pt x="369" y="157"/>
                    <a:pt x="361" y="152"/>
                  </a:cubicBezTo>
                  <a:cubicBezTo>
                    <a:pt x="319" y="125"/>
                    <a:pt x="319" y="125"/>
                    <a:pt x="319" y="125"/>
                  </a:cubicBezTo>
                  <a:cubicBezTo>
                    <a:pt x="311" y="120"/>
                    <a:pt x="302" y="113"/>
                    <a:pt x="294" y="107"/>
                  </a:cubicBezTo>
                  <a:cubicBezTo>
                    <a:pt x="286" y="101"/>
                    <a:pt x="281" y="96"/>
                    <a:pt x="279" y="94"/>
                  </a:cubicBezTo>
                  <a:cubicBezTo>
                    <a:pt x="274" y="89"/>
                    <a:pt x="271" y="84"/>
                    <a:pt x="269" y="80"/>
                  </a:cubicBezTo>
                  <a:cubicBezTo>
                    <a:pt x="266" y="74"/>
                    <a:pt x="264" y="67"/>
                    <a:pt x="264" y="60"/>
                  </a:cubicBezTo>
                  <a:cubicBezTo>
                    <a:pt x="264" y="52"/>
                    <a:pt x="266" y="45"/>
                    <a:pt x="269" y="37"/>
                  </a:cubicBezTo>
                  <a:cubicBezTo>
                    <a:pt x="272" y="30"/>
                    <a:pt x="276" y="24"/>
                    <a:pt x="281" y="19"/>
                  </a:cubicBezTo>
                  <a:cubicBezTo>
                    <a:pt x="288" y="13"/>
                    <a:pt x="294" y="8"/>
                    <a:pt x="302" y="5"/>
                  </a:cubicBezTo>
                  <a:cubicBezTo>
                    <a:pt x="310" y="1"/>
                    <a:pt x="320" y="0"/>
                    <a:pt x="330" y="0"/>
                  </a:cubicBezTo>
                  <a:cubicBezTo>
                    <a:pt x="340" y="0"/>
                    <a:pt x="349" y="2"/>
                    <a:pt x="359" y="6"/>
                  </a:cubicBezTo>
                  <a:cubicBezTo>
                    <a:pt x="364" y="9"/>
                    <a:pt x="370" y="11"/>
                    <a:pt x="375" y="14"/>
                  </a:cubicBezTo>
                  <a:cubicBezTo>
                    <a:pt x="378" y="15"/>
                    <a:pt x="380" y="16"/>
                    <a:pt x="383" y="16"/>
                  </a:cubicBezTo>
                  <a:cubicBezTo>
                    <a:pt x="386" y="16"/>
                    <a:pt x="389" y="15"/>
                    <a:pt x="391" y="14"/>
                  </a:cubicBezTo>
                  <a:cubicBezTo>
                    <a:pt x="393" y="13"/>
                    <a:pt x="394" y="11"/>
                    <a:pt x="395" y="10"/>
                  </a:cubicBezTo>
                  <a:cubicBezTo>
                    <a:pt x="396" y="8"/>
                    <a:pt x="397" y="5"/>
                    <a:pt x="398" y="1"/>
                  </a:cubicBezTo>
                  <a:cubicBezTo>
                    <a:pt x="401" y="1"/>
                    <a:pt x="401" y="1"/>
                    <a:pt x="401" y="1"/>
                  </a:cubicBezTo>
                  <a:cubicBezTo>
                    <a:pt x="401" y="80"/>
                    <a:pt x="401" y="80"/>
                    <a:pt x="401" y="80"/>
                  </a:cubicBezTo>
                  <a:cubicBezTo>
                    <a:pt x="398" y="80"/>
                    <a:pt x="398" y="80"/>
                    <a:pt x="398" y="80"/>
                  </a:cubicBezTo>
                  <a:cubicBezTo>
                    <a:pt x="396" y="68"/>
                    <a:pt x="393" y="57"/>
                    <a:pt x="388" y="47"/>
                  </a:cubicBezTo>
                  <a:cubicBezTo>
                    <a:pt x="384" y="38"/>
                    <a:pt x="380" y="32"/>
                    <a:pt x="376" y="28"/>
                  </a:cubicBezTo>
                  <a:cubicBezTo>
                    <a:pt x="371" y="24"/>
                    <a:pt x="367" y="21"/>
                    <a:pt x="362" y="19"/>
                  </a:cubicBezTo>
                  <a:cubicBezTo>
                    <a:pt x="356" y="16"/>
                    <a:pt x="349" y="14"/>
                    <a:pt x="341" y="14"/>
                  </a:cubicBezTo>
                  <a:cubicBezTo>
                    <a:pt x="338" y="14"/>
                    <a:pt x="334" y="15"/>
                    <a:pt x="330" y="15"/>
                  </a:cubicBezTo>
                  <a:cubicBezTo>
                    <a:pt x="319" y="18"/>
                    <a:pt x="311" y="21"/>
                    <a:pt x="306" y="26"/>
                  </a:cubicBezTo>
                  <a:cubicBezTo>
                    <a:pt x="300" y="31"/>
                    <a:pt x="297" y="38"/>
                    <a:pt x="296" y="47"/>
                  </a:cubicBezTo>
                  <a:cubicBezTo>
                    <a:pt x="296" y="48"/>
                    <a:pt x="296" y="49"/>
                    <a:pt x="296" y="50"/>
                  </a:cubicBezTo>
                  <a:cubicBezTo>
                    <a:pt x="296" y="55"/>
                    <a:pt x="297" y="60"/>
                    <a:pt x="299" y="64"/>
                  </a:cubicBezTo>
                  <a:cubicBezTo>
                    <a:pt x="301" y="67"/>
                    <a:pt x="303" y="70"/>
                    <a:pt x="306" y="73"/>
                  </a:cubicBezTo>
                  <a:cubicBezTo>
                    <a:pt x="308" y="76"/>
                    <a:pt x="315" y="81"/>
                    <a:pt x="326" y="89"/>
                  </a:cubicBezTo>
                  <a:cubicBezTo>
                    <a:pt x="338" y="96"/>
                    <a:pt x="349" y="104"/>
                    <a:pt x="361" y="111"/>
                  </a:cubicBezTo>
                  <a:cubicBezTo>
                    <a:pt x="375" y="121"/>
                    <a:pt x="385" y="128"/>
                    <a:pt x="392" y="134"/>
                  </a:cubicBezTo>
                  <a:cubicBezTo>
                    <a:pt x="399" y="141"/>
                    <a:pt x="405" y="147"/>
                    <a:pt x="408" y="153"/>
                  </a:cubicBezTo>
                  <a:close/>
                  <a:moveTo>
                    <a:pt x="181" y="133"/>
                  </a:moveTo>
                  <a:cubicBezTo>
                    <a:pt x="181" y="218"/>
                    <a:pt x="181" y="218"/>
                    <a:pt x="181" y="218"/>
                  </a:cubicBezTo>
                  <a:cubicBezTo>
                    <a:pt x="181" y="224"/>
                    <a:pt x="179" y="228"/>
                    <a:pt x="175" y="232"/>
                  </a:cubicBezTo>
                  <a:cubicBezTo>
                    <a:pt x="171" y="237"/>
                    <a:pt x="166" y="239"/>
                    <a:pt x="160" y="239"/>
                  </a:cubicBezTo>
                  <a:cubicBezTo>
                    <a:pt x="149" y="239"/>
                    <a:pt x="149" y="239"/>
                    <a:pt x="149" y="239"/>
                  </a:cubicBezTo>
                  <a:cubicBezTo>
                    <a:pt x="149" y="243"/>
                    <a:pt x="149" y="243"/>
                    <a:pt x="149" y="243"/>
                  </a:cubicBezTo>
                  <a:cubicBezTo>
                    <a:pt x="246" y="243"/>
                    <a:pt x="246" y="243"/>
                    <a:pt x="246" y="243"/>
                  </a:cubicBezTo>
                  <a:cubicBezTo>
                    <a:pt x="246" y="239"/>
                    <a:pt x="246" y="239"/>
                    <a:pt x="246" y="239"/>
                  </a:cubicBezTo>
                  <a:cubicBezTo>
                    <a:pt x="235" y="239"/>
                    <a:pt x="235" y="239"/>
                    <a:pt x="235" y="239"/>
                  </a:cubicBezTo>
                  <a:cubicBezTo>
                    <a:pt x="229" y="239"/>
                    <a:pt x="224" y="237"/>
                    <a:pt x="220" y="232"/>
                  </a:cubicBezTo>
                  <a:cubicBezTo>
                    <a:pt x="216" y="228"/>
                    <a:pt x="213" y="224"/>
                    <a:pt x="213" y="218"/>
                  </a:cubicBezTo>
                  <a:cubicBezTo>
                    <a:pt x="213" y="28"/>
                    <a:pt x="213" y="28"/>
                    <a:pt x="213" y="28"/>
                  </a:cubicBezTo>
                  <a:cubicBezTo>
                    <a:pt x="213" y="22"/>
                    <a:pt x="216" y="18"/>
                    <a:pt x="220" y="14"/>
                  </a:cubicBezTo>
                  <a:cubicBezTo>
                    <a:pt x="224" y="10"/>
                    <a:pt x="229" y="8"/>
                    <a:pt x="235" y="8"/>
                  </a:cubicBezTo>
                  <a:cubicBezTo>
                    <a:pt x="246" y="8"/>
                    <a:pt x="246" y="8"/>
                    <a:pt x="246" y="8"/>
                  </a:cubicBezTo>
                  <a:cubicBezTo>
                    <a:pt x="246" y="3"/>
                    <a:pt x="246" y="3"/>
                    <a:pt x="246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9" y="8"/>
                    <a:pt x="149" y="8"/>
                    <a:pt x="14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66" y="8"/>
                    <a:pt x="171" y="10"/>
                    <a:pt x="175" y="14"/>
                  </a:cubicBezTo>
                  <a:cubicBezTo>
                    <a:pt x="179" y="18"/>
                    <a:pt x="181" y="22"/>
                    <a:pt x="181" y="28"/>
                  </a:cubicBezTo>
                  <a:cubicBezTo>
                    <a:pt x="181" y="121"/>
                    <a:pt x="181" y="121"/>
                    <a:pt x="181" y="121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5" y="22"/>
                    <a:pt x="68" y="18"/>
                    <a:pt x="72" y="14"/>
                  </a:cubicBezTo>
                  <a:cubicBezTo>
                    <a:pt x="76" y="10"/>
                    <a:pt x="81" y="8"/>
                    <a:pt x="87" y="8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8" y="8"/>
                    <a:pt x="23" y="10"/>
                    <a:pt x="27" y="14"/>
                  </a:cubicBezTo>
                  <a:cubicBezTo>
                    <a:pt x="31" y="18"/>
                    <a:pt x="33" y="22"/>
                    <a:pt x="33" y="28"/>
                  </a:cubicBezTo>
                  <a:cubicBezTo>
                    <a:pt x="33" y="218"/>
                    <a:pt x="33" y="218"/>
                    <a:pt x="33" y="218"/>
                  </a:cubicBezTo>
                  <a:cubicBezTo>
                    <a:pt x="33" y="224"/>
                    <a:pt x="31" y="228"/>
                    <a:pt x="27" y="232"/>
                  </a:cubicBezTo>
                  <a:cubicBezTo>
                    <a:pt x="22" y="237"/>
                    <a:pt x="17" y="239"/>
                    <a:pt x="12" y="239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98" y="243"/>
                    <a:pt x="98" y="243"/>
                    <a:pt x="98" y="243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1" y="239"/>
                    <a:pt x="76" y="237"/>
                    <a:pt x="72" y="232"/>
                  </a:cubicBezTo>
                  <a:cubicBezTo>
                    <a:pt x="68" y="228"/>
                    <a:pt x="65" y="224"/>
                    <a:pt x="65" y="218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181" y="133"/>
                    <a:pt x="181" y="133"/>
                    <a:pt x="181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58" name="Freeform 47"/>
            <p:cNvSpPr>
              <a:spLocks noEditPoints="1"/>
            </p:cNvSpPr>
            <p:nvPr userDrawn="1"/>
          </p:nvSpPr>
          <p:spPr bwMode="auto">
            <a:xfrm>
              <a:off x="5180" y="3931"/>
              <a:ext cx="343" cy="195"/>
            </a:xfrm>
            <a:custGeom>
              <a:avLst/>
              <a:gdLst>
                <a:gd name="T0" fmla="*/ 3 w 425"/>
                <a:gd name="T1" fmla="*/ 2 h 242"/>
                <a:gd name="T2" fmla="*/ 4 w 425"/>
                <a:gd name="T3" fmla="*/ 2 h 242"/>
                <a:gd name="T4" fmla="*/ 4 w 425"/>
                <a:gd name="T5" fmla="*/ 4 h 242"/>
                <a:gd name="T6" fmla="*/ 2 w 425"/>
                <a:gd name="T7" fmla="*/ 5 h 242"/>
                <a:gd name="T8" fmla="*/ 0 w 425"/>
                <a:gd name="T9" fmla="*/ 5 h 242"/>
                <a:gd name="T10" fmla="*/ 2 w 425"/>
                <a:gd name="T11" fmla="*/ 5 h 242"/>
                <a:gd name="T12" fmla="*/ 2 w 425"/>
                <a:gd name="T13" fmla="*/ 4 h 242"/>
                <a:gd name="T14" fmla="*/ 2 w 425"/>
                <a:gd name="T15" fmla="*/ 2 h 242"/>
                <a:gd name="T16" fmla="*/ 0 w 425"/>
                <a:gd name="T17" fmla="*/ 2 h 242"/>
                <a:gd name="T18" fmla="*/ 2 w 425"/>
                <a:gd name="T19" fmla="*/ 1 h 242"/>
                <a:gd name="T20" fmla="*/ 2 w 425"/>
                <a:gd name="T21" fmla="*/ 2 h 242"/>
                <a:gd name="T22" fmla="*/ 4 w 425"/>
                <a:gd name="T23" fmla="*/ 2 h 242"/>
                <a:gd name="T24" fmla="*/ 2 w 425"/>
                <a:gd name="T25" fmla="*/ 5 h 242"/>
                <a:gd name="T26" fmla="*/ 2 w 425"/>
                <a:gd name="T27" fmla="*/ 5 h 242"/>
                <a:gd name="T28" fmla="*/ 2 w 425"/>
                <a:gd name="T29" fmla="*/ 4 h 242"/>
                <a:gd name="T30" fmla="*/ 3 w 425"/>
                <a:gd name="T31" fmla="*/ 3 h 242"/>
                <a:gd name="T32" fmla="*/ 2 w 425"/>
                <a:gd name="T33" fmla="*/ 2 h 242"/>
                <a:gd name="T34" fmla="*/ 2 w 425"/>
                <a:gd name="T35" fmla="*/ 2 h 242"/>
                <a:gd name="T36" fmla="*/ 2 w 425"/>
                <a:gd name="T37" fmla="*/ 5 h 242"/>
                <a:gd name="T38" fmla="*/ 2 w 425"/>
                <a:gd name="T39" fmla="*/ 2 h 242"/>
                <a:gd name="T40" fmla="*/ 2 w 425"/>
                <a:gd name="T41" fmla="*/ 2 h 242"/>
                <a:gd name="T42" fmla="*/ 3 w 425"/>
                <a:gd name="T43" fmla="*/ 2 h 242"/>
                <a:gd name="T44" fmla="*/ 3 w 425"/>
                <a:gd name="T45" fmla="*/ 2 h 242"/>
                <a:gd name="T46" fmla="*/ 2 w 425"/>
                <a:gd name="T47" fmla="*/ 2 h 242"/>
                <a:gd name="T48" fmla="*/ 2 w 425"/>
                <a:gd name="T49" fmla="*/ 2 h 242"/>
                <a:gd name="T50" fmla="*/ 2 w 425"/>
                <a:gd name="T51" fmla="*/ 2 h 242"/>
                <a:gd name="T52" fmla="*/ 9 w 425"/>
                <a:gd name="T53" fmla="*/ 2 h 242"/>
                <a:gd name="T54" fmla="*/ 8 w 425"/>
                <a:gd name="T55" fmla="*/ 2 h 242"/>
                <a:gd name="T56" fmla="*/ 8 w 425"/>
                <a:gd name="T57" fmla="*/ 2 h 242"/>
                <a:gd name="T58" fmla="*/ 8 w 425"/>
                <a:gd name="T59" fmla="*/ 2 h 242"/>
                <a:gd name="T60" fmla="*/ 6 w 425"/>
                <a:gd name="T61" fmla="*/ 2 h 242"/>
                <a:gd name="T62" fmla="*/ 5 w 425"/>
                <a:gd name="T63" fmla="*/ 2 h 242"/>
                <a:gd name="T64" fmla="*/ 5 w 425"/>
                <a:gd name="T65" fmla="*/ 2 h 242"/>
                <a:gd name="T66" fmla="*/ 5 w 425"/>
                <a:gd name="T67" fmla="*/ 3 h 242"/>
                <a:gd name="T68" fmla="*/ 6 w 425"/>
                <a:gd name="T69" fmla="*/ 4 h 242"/>
                <a:gd name="T70" fmla="*/ 8 w 425"/>
                <a:gd name="T71" fmla="*/ 4 h 242"/>
                <a:gd name="T72" fmla="*/ 9 w 425"/>
                <a:gd name="T73" fmla="*/ 4 h 242"/>
                <a:gd name="T74" fmla="*/ 6 w 425"/>
                <a:gd name="T75" fmla="*/ 5 h 242"/>
                <a:gd name="T76" fmla="*/ 5 w 425"/>
                <a:gd name="T77" fmla="*/ 4 h 242"/>
                <a:gd name="T78" fmla="*/ 5 w 425"/>
                <a:gd name="T79" fmla="*/ 3 h 242"/>
                <a:gd name="T80" fmla="*/ 4 w 425"/>
                <a:gd name="T81" fmla="*/ 2 h 242"/>
                <a:gd name="T82" fmla="*/ 5 w 425"/>
                <a:gd name="T83" fmla="*/ 2 h 242"/>
                <a:gd name="T84" fmla="*/ 6 w 425"/>
                <a:gd name="T85" fmla="*/ 0 h 242"/>
                <a:gd name="T86" fmla="*/ 8 w 425"/>
                <a:gd name="T87" fmla="*/ 2 h 242"/>
                <a:gd name="T88" fmla="*/ 8 w 425"/>
                <a:gd name="T89" fmla="*/ 2 h 242"/>
                <a:gd name="T90" fmla="*/ 8 w 425"/>
                <a:gd name="T91" fmla="*/ 2 h 242"/>
                <a:gd name="T92" fmla="*/ 9 w 425"/>
                <a:gd name="T93" fmla="*/ 2 h 24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42">
                  <a:moveTo>
                    <a:pt x="181" y="63"/>
                  </a:moveTo>
                  <a:cubicBezTo>
                    <a:pt x="181" y="75"/>
                    <a:pt x="178" y="86"/>
                    <a:pt x="171" y="96"/>
                  </a:cubicBezTo>
                  <a:cubicBezTo>
                    <a:pt x="164" y="107"/>
                    <a:pt x="155" y="114"/>
                    <a:pt x="142" y="118"/>
                  </a:cubicBezTo>
                  <a:cubicBezTo>
                    <a:pt x="159" y="124"/>
                    <a:pt x="171" y="132"/>
                    <a:pt x="180" y="143"/>
                  </a:cubicBezTo>
                  <a:cubicBezTo>
                    <a:pt x="188" y="152"/>
                    <a:pt x="192" y="164"/>
                    <a:pt x="192" y="176"/>
                  </a:cubicBezTo>
                  <a:cubicBezTo>
                    <a:pt x="192" y="182"/>
                    <a:pt x="191" y="188"/>
                    <a:pt x="189" y="194"/>
                  </a:cubicBezTo>
                  <a:cubicBezTo>
                    <a:pt x="186" y="207"/>
                    <a:pt x="179" y="217"/>
                    <a:pt x="169" y="224"/>
                  </a:cubicBezTo>
                  <a:cubicBezTo>
                    <a:pt x="161" y="230"/>
                    <a:pt x="149" y="235"/>
                    <a:pt x="135" y="237"/>
                  </a:cubicBezTo>
                  <a:cubicBezTo>
                    <a:pt x="124" y="239"/>
                    <a:pt x="111" y="240"/>
                    <a:pt x="94" y="240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4" y="236"/>
                    <a:pt x="14" y="236"/>
                    <a:pt x="14" y="236"/>
                  </a:cubicBezTo>
                  <a:cubicBezTo>
                    <a:pt x="19" y="236"/>
                    <a:pt x="24" y="234"/>
                    <a:pt x="28" y="230"/>
                  </a:cubicBezTo>
                  <a:cubicBezTo>
                    <a:pt x="31" y="227"/>
                    <a:pt x="33" y="222"/>
                    <a:pt x="33" y="217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19"/>
                    <a:pt x="31" y="14"/>
                    <a:pt x="28" y="11"/>
                  </a:cubicBezTo>
                  <a:cubicBezTo>
                    <a:pt x="24" y="7"/>
                    <a:pt x="19" y="5"/>
                    <a:pt x="14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92" y="1"/>
                    <a:pt x="99" y="1"/>
                    <a:pt x="107" y="2"/>
                  </a:cubicBezTo>
                  <a:cubicBezTo>
                    <a:pt x="115" y="3"/>
                    <a:pt x="121" y="3"/>
                    <a:pt x="124" y="4"/>
                  </a:cubicBezTo>
                  <a:cubicBezTo>
                    <a:pt x="134" y="6"/>
                    <a:pt x="144" y="10"/>
                    <a:pt x="153" y="15"/>
                  </a:cubicBezTo>
                  <a:cubicBezTo>
                    <a:pt x="167" y="24"/>
                    <a:pt x="176" y="35"/>
                    <a:pt x="180" y="49"/>
                  </a:cubicBezTo>
                  <a:cubicBezTo>
                    <a:pt x="181" y="54"/>
                    <a:pt x="181" y="58"/>
                    <a:pt x="181" y="63"/>
                  </a:cubicBezTo>
                  <a:close/>
                  <a:moveTo>
                    <a:pt x="65" y="227"/>
                  </a:moveTo>
                  <a:cubicBezTo>
                    <a:pt x="70" y="228"/>
                    <a:pt x="74" y="229"/>
                    <a:pt x="79" y="230"/>
                  </a:cubicBezTo>
                  <a:cubicBezTo>
                    <a:pt x="84" y="231"/>
                    <a:pt x="90" y="231"/>
                    <a:pt x="95" y="231"/>
                  </a:cubicBezTo>
                  <a:cubicBezTo>
                    <a:pt x="103" y="231"/>
                    <a:pt x="110" y="230"/>
                    <a:pt x="117" y="229"/>
                  </a:cubicBezTo>
                  <a:cubicBezTo>
                    <a:pt x="123" y="227"/>
                    <a:pt x="130" y="224"/>
                    <a:pt x="135" y="220"/>
                  </a:cubicBezTo>
                  <a:cubicBezTo>
                    <a:pt x="142" y="215"/>
                    <a:pt x="147" y="209"/>
                    <a:pt x="151" y="201"/>
                  </a:cubicBezTo>
                  <a:cubicBezTo>
                    <a:pt x="155" y="193"/>
                    <a:pt x="157" y="185"/>
                    <a:pt x="157" y="176"/>
                  </a:cubicBezTo>
                  <a:cubicBezTo>
                    <a:pt x="157" y="167"/>
                    <a:pt x="154" y="159"/>
                    <a:pt x="150" y="151"/>
                  </a:cubicBezTo>
                  <a:cubicBezTo>
                    <a:pt x="146" y="142"/>
                    <a:pt x="139" y="135"/>
                    <a:pt x="130" y="129"/>
                  </a:cubicBezTo>
                  <a:cubicBezTo>
                    <a:pt x="126" y="126"/>
                    <a:pt x="120" y="124"/>
                    <a:pt x="112" y="123"/>
                  </a:cubicBezTo>
                  <a:cubicBezTo>
                    <a:pt x="105" y="122"/>
                    <a:pt x="97" y="121"/>
                    <a:pt x="88" y="121"/>
                  </a:cubicBezTo>
                  <a:cubicBezTo>
                    <a:pt x="78" y="121"/>
                    <a:pt x="71" y="122"/>
                    <a:pt x="65" y="123"/>
                  </a:cubicBezTo>
                  <a:cubicBezTo>
                    <a:pt x="65" y="227"/>
                    <a:pt x="65" y="227"/>
                    <a:pt x="65" y="227"/>
                  </a:cubicBezTo>
                  <a:close/>
                  <a:moveTo>
                    <a:pt x="65" y="110"/>
                  </a:moveTo>
                  <a:cubicBezTo>
                    <a:pt x="71" y="111"/>
                    <a:pt x="78" y="112"/>
                    <a:pt x="88" y="112"/>
                  </a:cubicBezTo>
                  <a:cubicBezTo>
                    <a:pt x="95" y="112"/>
                    <a:pt x="102" y="111"/>
                    <a:pt x="109" y="110"/>
                  </a:cubicBezTo>
                  <a:cubicBezTo>
                    <a:pt x="116" y="109"/>
                    <a:pt x="121" y="107"/>
                    <a:pt x="125" y="105"/>
                  </a:cubicBezTo>
                  <a:cubicBezTo>
                    <a:pt x="133" y="100"/>
                    <a:pt x="140" y="93"/>
                    <a:pt x="144" y="85"/>
                  </a:cubicBezTo>
                  <a:cubicBezTo>
                    <a:pt x="148" y="78"/>
                    <a:pt x="150" y="70"/>
                    <a:pt x="150" y="61"/>
                  </a:cubicBezTo>
                  <a:cubicBezTo>
                    <a:pt x="150" y="58"/>
                    <a:pt x="150" y="55"/>
                    <a:pt x="149" y="51"/>
                  </a:cubicBezTo>
                  <a:cubicBezTo>
                    <a:pt x="148" y="45"/>
                    <a:pt x="146" y="40"/>
                    <a:pt x="143" y="35"/>
                  </a:cubicBezTo>
                  <a:cubicBezTo>
                    <a:pt x="140" y="30"/>
                    <a:pt x="136" y="26"/>
                    <a:pt x="131" y="22"/>
                  </a:cubicBezTo>
                  <a:cubicBezTo>
                    <a:pt x="125" y="18"/>
                    <a:pt x="119" y="15"/>
                    <a:pt x="112" y="13"/>
                  </a:cubicBezTo>
                  <a:cubicBezTo>
                    <a:pt x="105" y="12"/>
                    <a:pt x="98" y="11"/>
                    <a:pt x="91" y="11"/>
                  </a:cubicBezTo>
                  <a:cubicBezTo>
                    <a:pt x="86" y="11"/>
                    <a:pt x="82" y="11"/>
                    <a:pt x="77" y="12"/>
                  </a:cubicBezTo>
                  <a:cubicBezTo>
                    <a:pt x="72" y="13"/>
                    <a:pt x="69" y="13"/>
                    <a:pt x="65" y="15"/>
                  </a:cubicBezTo>
                  <a:cubicBezTo>
                    <a:pt x="65" y="110"/>
                    <a:pt x="65" y="110"/>
                    <a:pt x="65" y="110"/>
                  </a:cubicBezTo>
                  <a:close/>
                  <a:moveTo>
                    <a:pt x="414" y="3"/>
                  </a:moveTo>
                  <a:cubicBezTo>
                    <a:pt x="418" y="84"/>
                    <a:pt x="418" y="84"/>
                    <a:pt x="418" y="84"/>
                  </a:cubicBezTo>
                  <a:cubicBezTo>
                    <a:pt x="413" y="84"/>
                    <a:pt x="413" y="84"/>
                    <a:pt x="413" y="84"/>
                  </a:cubicBezTo>
                  <a:cubicBezTo>
                    <a:pt x="412" y="74"/>
                    <a:pt x="409" y="65"/>
                    <a:pt x="406" y="58"/>
                  </a:cubicBezTo>
                  <a:cubicBezTo>
                    <a:pt x="402" y="51"/>
                    <a:pt x="398" y="45"/>
                    <a:pt x="393" y="40"/>
                  </a:cubicBezTo>
                  <a:cubicBezTo>
                    <a:pt x="390" y="37"/>
                    <a:pt x="388" y="35"/>
                    <a:pt x="387" y="34"/>
                  </a:cubicBezTo>
                  <a:cubicBezTo>
                    <a:pt x="384" y="31"/>
                    <a:pt x="381" y="29"/>
                    <a:pt x="377" y="27"/>
                  </a:cubicBezTo>
                  <a:cubicBezTo>
                    <a:pt x="371" y="23"/>
                    <a:pt x="365" y="20"/>
                    <a:pt x="359" y="18"/>
                  </a:cubicBezTo>
                  <a:cubicBezTo>
                    <a:pt x="351" y="16"/>
                    <a:pt x="344" y="14"/>
                    <a:pt x="336" y="14"/>
                  </a:cubicBezTo>
                  <a:cubicBezTo>
                    <a:pt x="332" y="14"/>
                    <a:pt x="327" y="15"/>
                    <a:pt x="323" y="15"/>
                  </a:cubicBezTo>
                  <a:cubicBezTo>
                    <a:pt x="307" y="18"/>
                    <a:pt x="294" y="25"/>
                    <a:pt x="283" y="35"/>
                  </a:cubicBezTo>
                  <a:cubicBezTo>
                    <a:pt x="274" y="43"/>
                    <a:pt x="268" y="53"/>
                    <a:pt x="262" y="66"/>
                  </a:cubicBezTo>
                  <a:cubicBezTo>
                    <a:pt x="259" y="73"/>
                    <a:pt x="257" y="82"/>
                    <a:pt x="255" y="92"/>
                  </a:cubicBezTo>
                  <a:cubicBezTo>
                    <a:pt x="253" y="102"/>
                    <a:pt x="252" y="112"/>
                    <a:pt x="252" y="122"/>
                  </a:cubicBezTo>
                  <a:cubicBezTo>
                    <a:pt x="252" y="131"/>
                    <a:pt x="253" y="141"/>
                    <a:pt x="255" y="150"/>
                  </a:cubicBezTo>
                  <a:cubicBezTo>
                    <a:pt x="256" y="159"/>
                    <a:pt x="259" y="168"/>
                    <a:pt x="263" y="176"/>
                  </a:cubicBezTo>
                  <a:cubicBezTo>
                    <a:pt x="270" y="190"/>
                    <a:pt x="280" y="202"/>
                    <a:pt x="293" y="210"/>
                  </a:cubicBezTo>
                  <a:cubicBezTo>
                    <a:pt x="304" y="217"/>
                    <a:pt x="316" y="221"/>
                    <a:pt x="329" y="223"/>
                  </a:cubicBezTo>
                  <a:cubicBezTo>
                    <a:pt x="332" y="224"/>
                    <a:pt x="337" y="224"/>
                    <a:pt x="341" y="224"/>
                  </a:cubicBezTo>
                  <a:cubicBezTo>
                    <a:pt x="354" y="224"/>
                    <a:pt x="367" y="222"/>
                    <a:pt x="379" y="216"/>
                  </a:cubicBezTo>
                  <a:cubicBezTo>
                    <a:pt x="395" y="209"/>
                    <a:pt x="409" y="198"/>
                    <a:pt x="420" y="183"/>
                  </a:cubicBezTo>
                  <a:cubicBezTo>
                    <a:pt x="425" y="186"/>
                    <a:pt x="425" y="186"/>
                    <a:pt x="425" y="186"/>
                  </a:cubicBezTo>
                  <a:cubicBezTo>
                    <a:pt x="413" y="204"/>
                    <a:pt x="398" y="218"/>
                    <a:pt x="383" y="227"/>
                  </a:cubicBezTo>
                  <a:cubicBezTo>
                    <a:pt x="366" y="237"/>
                    <a:pt x="349" y="242"/>
                    <a:pt x="331" y="242"/>
                  </a:cubicBezTo>
                  <a:cubicBezTo>
                    <a:pt x="316" y="242"/>
                    <a:pt x="302" y="240"/>
                    <a:pt x="289" y="235"/>
                  </a:cubicBezTo>
                  <a:cubicBezTo>
                    <a:pt x="278" y="231"/>
                    <a:pt x="268" y="225"/>
                    <a:pt x="258" y="218"/>
                  </a:cubicBezTo>
                  <a:cubicBezTo>
                    <a:pt x="251" y="213"/>
                    <a:pt x="245" y="207"/>
                    <a:pt x="239" y="200"/>
                  </a:cubicBezTo>
                  <a:cubicBezTo>
                    <a:pt x="232" y="192"/>
                    <a:pt x="226" y="180"/>
                    <a:pt x="221" y="166"/>
                  </a:cubicBezTo>
                  <a:cubicBezTo>
                    <a:pt x="216" y="152"/>
                    <a:pt x="214" y="139"/>
                    <a:pt x="214" y="125"/>
                  </a:cubicBezTo>
                  <a:cubicBezTo>
                    <a:pt x="214" y="113"/>
                    <a:pt x="215" y="100"/>
                    <a:pt x="217" y="88"/>
                  </a:cubicBezTo>
                  <a:cubicBezTo>
                    <a:pt x="220" y="76"/>
                    <a:pt x="223" y="66"/>
                    <a:pt x="228" y="58"/>
                  </a:cubicBezTo>
                  <a:cubicBezTo>
                    <a:pt x="236" y="43"/>
                    <a:pt x="247" y="31"/>
                    <a:pt x="261" y="21"/>
                  </a:cubicBezTo>
                  <a:cubicBezTo>
                    <a:pt x="278" y="9"/>
                    <a:pt x="296" y="2"/>
                    <a:pt x="315" y="0"/>
                  </a:cubicBezTo>
                  <a:cubicBezTo>
                    <a:pt x="316" y="0"/>
                    <a:pt x="318" y="0"/>
                    <a:pt x="321" y="0"/>
                  </a:cubicBezTo>
                  <a:cubicBezTo>
                    <a:pt x="324" y="0"/>
                    <a:pt x="327" y="0"/>
                    <a:pt x="331" y="0"/>
                  </a:cubicBezTo>
                  <a:cubicBezTo>
                    <a:pt x="341" y="0"/>
                    <a:pt x="351" y="1"/>
                    <a:pt x="360" y="3"/>
                  </a:cubicBezTo>
                  <a:cubicBezTo>
                    <a:pt x="368" y="6"/>
                    <a:pt x="376" y="9"/>
                    <a:pt x="383" y="13"/>
                  </a:cubicBezTo>
                  <a:cubicBezTo>
                    <a:pt x="389" y="16"/>
                    <a:pt x="393" y="18"/>
                    <a:pt x="397" y="18"/>
                  </a:cubicBezTo>
                  <a:cubicBezTo>
                    <a:pt x="398" y="18"/>
                    <a:pt x="400" y="17"/>
                    <a:pt x="402" y="17"/>
                  </a:cubicBezTo>
                  <a:cubicBezTo>
                    <a:pt x="404" y="16"/>
                    <a:pt x="406" y="14"/>
                    <a:pt x="408" y="12"/>
                  </a:cubicBezTo>
                  <a:cubicBezTo>
                    <a:pt x="409" y="9"/>
                    <a:pt x="410" y="6"/>
                    <a:pt x="410" y="3"/>
                  </a:cubicBezTo>
                  <a:cubicBezTo>
                    <a:pt x="414" y="3"/>
                    <a:pt x="414" y="3"/>
                    <a:pt x="414" y="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59" name="Rectangle 48"/>
            <p:cNvSpPr>
              <a:spLocks noChangeArrowheads="1"/>
            </p:cNvSpPr>
            <p:nvPr userDrawn="1"/>
          </p:nvSpPr>
          <p:spPr bwMode="auto">
            <a:xfrm>
              <a:off x="5678" y="3931"/>
              <a:ext cx="193" cy="19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4" tIns="45718" rIns="91434" bIns="45718"/>
            <a:lstStyle/>
            <a:p>
              <a:pPr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5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0" name="Rectangle 49"/>
            <p:cNvSpPr>
              <a:spLocks noChangeArrowheads="1"/>
            </p:cNvSpPr>
            <p:nvPr userDrawn="1"/>
          </p:nvSpPr>
          <p:spPr bwMode="auto">
            <a:xfrm>
              <a:off x="5678" y="3931"/>
              <a:ext cx="193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4" tIns="45718" rIns="91434" bIns="45718"/>
            <a:lstStyle/>
            <a:p>
              <a:pPr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5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1" name="Freeform 50"/>
            <p:cNvSpPr>
              <a:spLocks noEditPoints="1"/>
            </p:cNvSpPr>
            <p:nvPr userDrawn="1"/>
          </p:nvSpPr>
          <p:spPr bwMode="auto">
            <a:xfrm>
              <a:off x="5581" y="3931"/>
              <a:ext cx="387" cy="194"/>
            </a:xfrm>
            <a:custGeom>
              <a:avLst/>
              <a:gdLst>
                <a:gd name="T0" fmla="*/ 96 w 387"/>
                <a:gd name="T1" fmla="*/ 0 h 194"/>
                <a:gd name="T2" fmla="*/ 96 w 387"/>
                <a:gd name="T3" fmla="*/ 194 h 194"/>
                <a:gd name="T4" fmla="*/ 0 w 387"/>
                <a:gd name="T5" fmla="*/ 97 h 194"/>
                <a:gd name="T6" fmla="*/ 96 w 387"/>
                <a:gd name="T7" fmla="*/ 0 h 194"/>
                <a:gd name="T8" fmla="*/ 96 w 387"/>
                <a:gd name="T9" fmla="*/ 0 h 194"/>
                <a:gd name="T10" fmla="*/ 193 w 387"/>
                <a:gd name="T11" fmla="*/ 97 h 194"/>
                <a:gd name="T12" fmla="*/ 290 w 387"/>
                <a:gd name="T13" fmla="*/ 194 h 194"/>
                <a:gd name="T14" fmla="*/ 97 w 387"/>
                <a:gd name="T15" fmla="*/ 194 h 194"/>
                <a:gd name="T16" fmla="*/ 193 w 387"/>
                <a:gd name="T17" fmla="*/ 97 h 194"/>
                <a:gd name="T18" fmla="*/ 193 w 387"/>
                <a:gd name="T19" fmla="*/ 97 h 194"/>
                <a:gd name="T20" fmla="*/ 97 w 387"/>
                <a:gd name="T21" fmla="*/ 0 h 194"/>
                <a:gd name="T22" fmla="*/ 290 w 387"/>
                <a:gd name="T23" fmla="*/ 0 h 194"/>
                <a:gd name="T24" fmla="*/ 193 w 387"/>
                <a:gd name="T25" fmla="*/ 97 h 194"/>
                <a:gd name="T26" fmla="*/ 97 w 387"/>
                <a:gd name="T27" fmla="*/ 0 h 194"/>
                <a:gd name="T28" fmla="*/ 97 w 387"/>
                <a:gd name="T29" fmla="*/ 0 h 194"/>
                <a:gd name="T30" fmla="*/ 387 w 387"/>
                <a:gd name="T31" fmla="*/ 97 h 194"/>
                <a:gd name="T32" fmla="*/ 290 w 387"/>
                <a:gd name="T33" fmla="*/ 194 h 194"/>
                <a:gd name="T34" fmla="*/ 290 w 387"/>
                <a:gd name="T35" fmla="*/ 0 h 194"/>
                <a:gd name="T36" fmla="*/ 387 w 387"/>
                <a:gd name="T37" fmla="*/ 97 h 19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87" h="194">
                  <a:moveTo>
                    <a:pt x="96" y="0"/>
                  </a:moveTo>
                  <a:lnTo>
                    <a:pt x="96" y="194"/>
                  </a:lnTo>
                  <a:lnTo>
                    <a:pt x="0" y="97"/>
                  </a:lnTo>
                  <a:lnTo>
                    <a:pt x="96" y="0"/>
                  </a:lnTo>
                  <a:close/>
                  <a:moveTo>
                    <a:pt x="193" y="97"/>
                  </a:moveTo>
                  <a:lnTo>
                    <a:pt x="290" y="194"/>
                  </a:lnTo>
                  <a:lnTo>
                    <a:pt x="97" y="194"/>
                  </a:lnTo>
                  <a:lnTo>
                    <a:pt x="193" y="97"/>
                  </a:lnTo>
                  <a:close/>
                  <a:moveTo>
                    <a:pt x="97" y="0"/>
                  </a:moveTo>
                  <a:lnTo>
                    <a:pt x="290" y="0"/>
                  </a:lnTo>
                  <a:lnTo>
                    <a:pt x="193" y="97"/>
                  </a:lnTo>
                  <a:lnTo>
                    <a:pt x="97" y="0"/>
                  </a:lnTo>
                  <a:close/>
                  <a:moveTo>
                    <a:pt x="387" y="97"/>
                  </a:moveTo>
                  <a:lnTo>
                    <a:pt x="290" y="194"/>
                  </a:lnTo>
                  <a:lnTo>
                    <a:pt x="290" y="0"/>
                  </a:lnTo>
                  <a:lnTo>
                    <a:pt x="387" y="97"/>
                  </a:lnTo>
                  <a:close/>
                </a:path>
              </a:pathLst>
            </a:custGeom>
            <a:solidFill>
              <a:srgbClr val="FB0F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2" name="Freeform 51"/>
            <p:cNvSpPr>
              <a:spLocks noEditPoints="1"/>
            </p:cNvSpPr>
            <p:nvPr userDrawn="1"/>
          </p:nvSpPr>
          <p:spPr bwMode="auto">
            <a:xfrm>
              <a:off x="5581" y="3931"/>
              <a:ext cx="387" cy="194"/>
            </a:xfrm>
            <a:custGeom>
              <a:avLst/>
              <a:gdLst>
                <a:gd name="T0" fmla="*/ 96 w 387"/>
                <a:gd name="T1" fmla="*/ 0 h 194"/>
                <a:gd name="T2" fmla="*/ 96 w 387"/>
                <a:gd name="T3" fmla="*/ 194 h 194"/>
                <a:gd name="T4" fmla="*/ 0 w 387"/>
                <a:gd name="T5" fmla="*/ 97 h 194"/>
                <a:gd name="T6" fmla="*/ 96 w 387"/>
                <a:gd name="T7" fmla="*/ 0 h 194"/>
                <a:gd name="T8" fmla="*/ 96 w 387"/>
                <a:gd name="T9" fmla="*/ 0 h 194"/>
                <a:gd name="T10" fmla="*/ 193 w 387"/>
                <a:gd name="T11" fmla="*/ 97 h 194"/>
                <a:gd name="T12" fmla="*/ 290 w 387"/>
                <a:gd name="T13" fmla="*/ 194 h 194"/>
                <a:gd name="T14" fmla="*/ 97 w 387"/>
                <a:gd name="T15" fmla="*/ 194 h 194"/>
                <a:gd name="T16" fmla="*/ 193 w 387"/>
                <a:gd name="T17" fmla="*/ 97 h 194"/>
                <a:gd name="T18" fmla="*/ 193 w 387"/>
                <a:gd name="T19" fmla="*/ 97 h 194"/>
                <a:gd name="T20" fmla="*/ 97 w 387"/>
                <a:gd name="T21" fmla="*/ 0 h 194"/>
                <a:gd name="T22" fmla="*/ 290 w 387"/>
                <a:gd name="T23" fmla="*/ 0 h 194"/>
                <a:gd name="T24" fmla="*/ 193 w 387"/>
                <a:gd name="T25" fmla="*/ 97 h 194"/>
                <a:gd name="T26" fmla="*/ 97 w 387"/>
                <a:gd name="T27" fmla="*/ 0 h 194"/>
                <a:gd name="T28" fmla="*/ 97 w 387"/>
                <a:gd name="T29" fmla="*/ 0 h 194"/>
                <a:gd name="T30" fmla="*/ 387 w 387"/>
                <a:gd name="T31" fmla="*/ 97 h 194"/>
                <a:gd name="T32" fmla="*/ 290 w 387"/>
                <a:gd name="T33" fmla="*/ 194 h 194"/>
                <a:gd name="T34" fmla="*/ 290 w 387"/>
                <a:gd name="T35" fmla="*/ 0 h 194"/>
                <a:gd name="T36" fmla="*/ 387 w 387"/>
                <a:gd name="T37" fmla="*/ 97 h 19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87" h="194">
                  <a:moveTo>
                    <a:pt x="96" y="0"/>
                  </a:moveTo>
                  <a:lnTo>
                    <a:pt x="96" y="194"/>
                  </a:lnTo>
                  <a:lnTo>
                    <a:pt x="0" y="97"/>
                  </a:lnTo>
                  <a:lnTo>
                    <a:pt x="96" y="0"/>
                  </a:lnTo>
                  <a:moveTo>
                    <a:pt x="193" y="97"/>
                  </a:moveTo>
                  <a:lnTo>
                    <a:pt x="290" y="194"/>
                  </a:lnTo>
                  <a:lnTo>
                    <a:pt x="97" y="194"/>
                  </a:lnTo>
                  <a:lnTo>
                    <a:pt x="193" y="97"/>
                  </a:lnTo>
                  <a:moveTo>
                    <a:pt x="97" y="0"/>
                  </a:moveTo>
                  <a:lnTo>
                    <a:pt x="290" y="0"/>
                  </a:lnTo>
                  <a:lnTo>
                    <a:pt x="193" y="97"/>
                  </a:lnTo>
                  <a:lnTo>
                    <a:pt x="97" y="0"/>
                  </a:lnTo>
                  <a:moveTo>
                    <a:pt x="387" y="97"/>
                  </a:moveTo>
                  <a:lnTo>
                    <a:pt x="290" y="194"/>
                  </a:lnTo>
                  <a:lnTo>
                    <a:pt x="290" y="0"/>
                  </a:lnTo>
                  <a:lnTo>
                    <a:pt x="387" y="9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54" name="Rectangle 52"/>
          <p:cNvSpPr>
            <a:spLocks noChangeArrowheads="1"/>
          </p:cNvSpPr>
          <p:nvPr/>
        </p:nvSpPr>
        <p:spPr bwMode="auto">
          <a:xfrm>
            <a:off x="9495061" y="6539075"/>
            <a:ext cx="14106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58838"/>
            <a:fld id="{A32B21AC-F776-4F1B-85DF-01D49FF83BA7}" type="slidenum">
              <a:rPr lang="en-GB" sz="900" b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algn="r" defTabSz="858838"/>
              <a:t>‹#›</a:t>
            </a:fld>
            <a:endParaRPr lang="en-GB" sz="9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31340" name="Text Box 140"/>
          <p:cNvSpPr txBox="1">
            <a:spLocks noChangeArrowheads="1"/>
          </p:cNvSpPr>
          <p:nvPr/>
        </p:nvSpPr>
        <p:spPr bwMode="auto">
          <a:xfrm>
            <a:off x="273050" y="6524625"/>
            <a:ext cx="2136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85883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•"/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85883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•"/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85883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•"/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85883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•"/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>
              <a:defRPr/>
            </a:pPr>
            <a:endParaRPr lang="en-US" sz="1000" dirty="0" smtClean="0">
              <a:solidFill>
                <a:srgbClr val="9999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384550" y="635651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buClr>
                <a:srgbClr val="FF0000"/>
              </a:buClr>
              <a:buFont typeface="Times New Roman" pitchFamily="18" charset="0"/>
              <a:buChar char="•"/>
            </a:pPr>
            <a:endParaRPr lang="en-US" b="0" dirty="0">
              <a:solidFill>
                <a:srgbClr val="000000">
                  <a:tint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669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+mj-ea"/>
          <a:cs typeface="+mj-cs"/>
        </a:defRPr>
      </a:lvl1pPr>
      <a:lvl2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2pPr>
      <a:lvl3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3pPr>
      <a:lvl4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4pPr>
      <a:lvl5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5pPr>
      <a:lvl6pPr marL="457200" algn="l" defTabSz="1109663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cs typeface="Arial" charset="0"/>
        </a:defRPr>
      </a:lvl6pPr>
      <a:lvl7pPr marL="914400" algn="l" defTabSz="1109663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cs typeface="Arial" charset="0"/>
        </a:defRPr>
      </a:lvl7pPr>
      <a:lvl8pPr marL="1371600" algn="l" defTabSz="1109663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cs typeface="Arial" charset="0"/>
        </a:defRPr>
      </a:lvl8pPr>
      <a:lvl9pPr marL="1828800" algn="l" defTabSz="1109663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28600" indent="-228600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455613" indent="-225425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Calibri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2pPr>
      <a:lvl3pPr marL="684213" indent="-227013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Calibri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3pPr>
      <a:lvl4pPr marL="1355725" indent="-212725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1000">
          <a:solidFill>
            <a:schemeClr val="tx1"/>
          </a:solidFill>
          <a:latin typeface="Calibri" pitchFamily="34" charset="0"/>
          <a:cs typeface="+mn-cs"/>
        </a:defRPr>
      </a:lvl4pPr>
      <a:lvl5pPr marL="1682750" indent="-212725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5pPr>
      <a:lvl6pPr marL="2139950" indent="-212725" algn="l" defTabSz="1109663" rtl="0" fontAlgn="base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6pPr>
      <a:lvl7pPr marL="2597150" indent="-212725" algn="l" defTabSz="1109663" rtl="0" fontAlgn="base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7pPr>
      <a:lvl8pPr marL="3054350" indent="-212725" algn="l" defTabSz="1109663" rtl="0" fontAlgn="base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8pPr>
      <a:lvl9pPr marL="3511550" indent="-212725" algn="l" defTabSz="1109663" rtl="0" fontAlgn="base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39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24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75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4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28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04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3229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4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16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28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3229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02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256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4531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50334" y="293689"/>
            <a:ext cx="8805333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63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Text Box 211"/>
          <p:cNvSpPr txBox="1">
            <a:spLocks noChangeArrowheads="1"/>
          </p:cNvSpPr>
          <p:nvPr/>
        </p:nvSpPr>
        <p:spPr bwMode="auto">
          <a:xfrm>
            <a:off x="9326367" y="6400801"/>
            <a:ext cx="6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17563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175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175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175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175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20000"/>
              </a:spcBef>
              <a:buClr>
                <a:srgbClr val="FF0000"/>
              </a:buClr>
              <a:buFont typeface="Wingdings 3" pitchFamily="18" charset="2"/>
              <a:buNone/>
            </a:pPr>
            <a:endParaRPr lang="en-GB" sz="800" b="0" dirty="0">
              <a:solidFill>
                <a:srgbClr val="A5A6A9"/>
              </a:solidFill>
            </a:endParaRPr>
          </a:p>
        </p:txBody>
      </p:sp>
      <p:sp>
        <p:nvSpPr>
          <p:cNvPr id="1028" name="Rectangle 230"/>
          <p:cNvSpPr>
            <a:spLocks noChangeArrowheads="1"/>
          </p:cNvSpPr>
          <p:nvPr/>
        </p:nvSpPr>
        <p:spPr bwMode="auto">
          <a:xfrm>
            <a:off x="206375" y="293688"/>
            <a:ext cx="137583" cy="5461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7224" tIns="43613" rIns="87224" bIns="43613" anchor="ctr"/>
          <a:lstStyle/>
          <a:p>
            <a:pPr defTabSz="817563" eaLnBrk="1" hangingPunct="1">
              <a:spcBef>
                <a:spcPct val="50000"/>
              </a:spcBef>
              <a:buClr>
                <a:srgbClr val="FF0000"/>
              </a:buClr>
              <a:buFont typeface="Wingdings 3" pitchFamily="18" charset="2"/>
              <a:buChar char="}"/>
            </a:pPr>
            <a:endParaRPr lang="en-US" sz="600" b="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29" name="Rectangle 396"/>
          <p:cNvSpPr>
            <a:spLocks noChangeArrowheads="1"/>
          </p:cNvSpPr>
          <p:nvPr/>
        </p:nvSpPr>
        <p:spPr bwMode="auto">
          <a:xfrm>
            <a:off x="4882192" y="6404025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7563" eaLnBrk="1" hangingPunct="1">
              <a:spcBef>
                <a:spcPct val="20000"/>
              </a:spcBef>
              <a:buClr>
                <a:srgbClr val="FF0000"/>
              </a:buClr>
              <a:buFont typeface="Wingdings 3" pitchFamily="18" charset="2"/>
              <a:buNone/>
            </a:pPr>
            <a:fld id="{0787F002-D499-48EF-88D6-5646FC423DDA}" type="slidenum">
              <a:rPr lang="en-GB" sz="1000" b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defTabSz="817563" eaLnBrk="1" hangingPunct="1">
                <a:spcBef>
                  <a:spcPct val="20000"/>
                </a:spcBef>
                <a:buClr>
                  <a:srgbClr val="FF0000"/>
                </a:buClr>
                <a:buFont typeface="Wingdings 3" pitchFamily="18" charset="2"/>
                <a:buNone/>
              </a:pPr>
              <a:t>‹#›</a:t>
            </a:fld>
            <a:endParaRPr lang="en-GB" sz="10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/>
            <a:endParaRPr lang="en-GB" b="0" dirty="0">
              <a:solidFill>
                <a:srgbClr val="000000">
                  <a:tint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711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  <p:sldLayoutId id="2147484041" r:id="rId13"/>
    <p:sldLayoutId id="2147484042" r:id="rId14"/>
    <p:sldLayoutId id="2147484043" r:id="rId15"/>
    <p:sldLayoutId id="2147484044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0572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572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  <a:cs typeface="Arial" charset="0"/>
        </a:defRPr>
      </a:lvl2pPr>
      <a:lvl3pPr algn="l" defTabSz="10572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  <a:cs typeface="Arial" charset="0"/>
        </a:defRPr>
      </a:lvl3pPr>
      <a:lvl4pPr algn="l" defTabSz="10572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  <a:cs typeface="Arial" charset="0"/>
        </a:defRPr>
      </a:lvl4pPr>
      <a:lvl5pPr algn="l" defTabSz="10572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  <a:cs typeface="Arial" charset="0"/>
        </a:defRPr>
      </a:lvl5pPr>
      <a:lvl6pPr marL="415027" algn="l" defTabSz="1007305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6pPr>
      <a:lvl7pPr marL="830053" algn="l" defTabSz="1007305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7pPr>
      <a:lvl8pPr marL="1245080" algn="l" defTabSz="1007305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8pPr>
      <a:lvl9pPr marL="1660106" algn="l" defTabSz="1007305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charset="0"/>
        </a:defRPr>
      </a:lvl9pPr>
    </p:titleStyle>
    <p:bodyStyle>
      <a:lvl1pPr marL="163513" indent="-163513" algn="l" defTabSz="817563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27025" indent="-160338" algn="l" defTabSz="817563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300">
          <a:solidFill>
            <a:schemeClr val="tx1"/>
          </a:solidFill>
          <a:latin typeface="+mn-lt"/>
          <a:cs typeface="+mn-cs"/>
        </a:defRPr>
      </a:lvl2pPr>
      <a:lvl3pPr marL="488950" indent="-160338" algn="l" defTabSz="817563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100">
          <a:solidFill>
            <a:schemeClr val="tx1"/>
          </a:solidFill>
          <a:latin typeface="+mn-lt"/>
          <a:cs typeface="+mn-cs"/>
        </a:defRPr>
      </a:lvl3pPr>
      <a:lvl4pPr marL="652463" indent="-160338" algn="l" defTabSz="817563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900">
          <a:solidFill>
            <a:schemeClr val="tx1"/>
          </a:solidFill>
          <a:latin typeface="+mn-lt"/>
          <a:cs typeface="+mn-cs"/>
        </a:defRPr>
      </a:lvl4pPr>
      <a:lvl5pPr marL="1677988" indent="-201613" algn="l" defTabSz="817563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100">
          <a:solidFill>
            <a:schemeClr val="tx1"/>
          </a:solidFill>
          <a:latin typeface="+mn-lt"/>
          <a:cs typeface="+mn-cs"/>
        </a:defRPr>
      </a:lvl5pPr>
      <a:lvl6pPr marL="1402156" indent="-193102" algn="l" defTabSz="1007305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00">
          <a:solidFill>
            <a:schemeClr val="tx1"/>
          </a:solidFill>
          <a:latin typeface="+mn-lt"/>
          <a:cs typeface="+mn-cs"/>
        </a:defRPr>
      </a:lvl6pPr>
      <a:lvl7pPr marL="1817181" indent="-193102" algn="l" defTabSz="1007305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00">
          <a:solidFill>
            <a:schemeClr val="tx1"/>
          </a:solidFill>
          <a:latin typeface="+mn-lt"/>
          <a:cs typeface="+mn-cs"/>
        </a:defRPr>
      </a:lvl7pPr>
      <a:lvl8pPr marL="2232209" indent="-193102" algn="l" defTabSz="1007305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00">
          <a:solidFill>
            <a:schemeClr val="tx1"/>
          </a:solidFill>
          <a:latin typeface="+mn-lt"/>
          <a:cs typeface="+mn-cs"/>
        </a:defRPr>
      </a:lvl8pPr>
      <a:lvl9pPr marL="2647234" indent="-193102" algn="l" defTabSz="1007305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3005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5027" algn="l" defTabSz="83005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30053" algn="l" defTabSz="83005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5080" algn="l" defTabSz="83005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60106" algn="l" defTabSz="83005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5132" algn="l" defTabSz="83005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90159" algn="l" defTabSz="83005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5186" algn="l" defTabSz="83005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20212" algn="l" defTabSz="83005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5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1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8"/>
            <a:ext cx="8891662" cy="133081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20905" y="6569007"/>
            <a:ext cx="128241" cy="12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663341"/>
            <a:fld id="{0A34F8B7-923E-4E9F-AE3F-2D64B3EAD121}" type="slidenum">
              <a:rPr lang="en-GB" sz="813" b="0">
                <a:solidFill>
                  <a:srgbClr val="000000"/>
                </a:solidFill>
                <a:latin typeface="Arial"/>
              </a:rPr>
              <a:pPr defTabSz="663341"/>
              <a:t>‹#›</a:t>
            </a:fld>
            <a:endParaRPr lang="en-GB" sz="81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40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13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2058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6" r:id="rId9"/>
    <p:sldLayoutId id="2147484057" r:id="rId10"/>
    <p:sldLayoutId id="2147484058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673870" rtl="0" eaLnBrk="1" latinLnBrk="0" hangingPunct="1">
        <a:lnSpc>
          <a:spcPct val="90000"/>
        </a:lnSpc>
        <a:spcBef>
          <a:spcPct val="0"/>
        </a:spcBef>
        <a:buNone/>
        <a:defRPr sz="162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73870" rtl="0" eaLnBrk="1" latinLnBrk="0" hangingPunct="1">
        <a:spcBef>
          <a:spcPts val="886"/>
        </a:spcBef>
        <a:buFont typeface="Arial" pitchFamily="34" charset="0"/>
        <a:buNone/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196548" indent="-196548" algn="l" defTabSz="673870" rtl="0" eaLnBrk="1" latinLnBrk="0" hangingPunct="1">
        <a:spcBef>
          <a:spcPts val="443"/>
        </a:spcBef>
        <a:buClr>
          <a:schemeClr val="tx2"/>
        </a:buClr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400111" indent="-203566" algn="l" defTabSz="673870" rtl="0" eaLnBrk="1" latinLnBrk="0" hangingPunct="1">
        <a:spcBef>
          <a:spcPts val="443"/>
        </a:spcBef>
        <a:buClr>
          <a:schemeClr val="tx2"/>
        </a:buClr>
        <a:buFont typeface="Arial" pitchFamily="34" charset="0"/>
        <a:buChar char="−"/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596659" indent="-196548" algn="l" defTabSz="673870" rtl="0" eaLnBrk="1" latinLnBrk="0" hangingPunct="1">
        <a:spcBef>
          <a:spcPts val="443"/>
        </a:spcBef>
        <a:buClr>
          <a:schemeClr val="tx2"/>
        </a:buClr>
        <a:buFont typeface="Arial" pitchFamily="34" charset="0"/>
        <a:buChar char="−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793200" indent="-196548" algn="l" defTabSz="673870" rtl="0" eaLnBrk="1" latinLnBrk="0" hangingPunct="1">
        <a:spcBef>
          <a:spcPts val="443"/>
        </a:spcBef>
        <a:buClr>
          <a:schemeClr val="tx2"/>
        </a:buClr>
        <a:buFont typeface="Arial" pitchFamily="34" charset="0"/>
        <a:buChar char="−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3141" indent="-168467" algn="l" defTabSz="673870" rtl="0" eaLnBrk="1" latinLnBrk="0" hangingPunct="1">
        <a:spcBef>
          <a:spcPct val="20000"/>
        </a:spcBef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190077" indent="-168467" algn="l" defTabSz="673870" rtl="0" eaLnBrk="1" latinLnBrk="0" hangingPunct="1">
        <a:spcBef>
          <a:spcPct val="20000"/>
        </a:spcBef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27012" indent="-168467" algn="l" defTabSz="673870" rtl="0" eaLnBrk="1" latinLnBrk="0" hangingPunct="1">
        <a:spcBef>
          <a:spcPct val="20000"/>
        </a:spcBef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863948" indent="-168467" algn="l" defTabSz="673870" rtl="0" eaLnBrk="1" latinLnBrk="0" hangingPunct="1">
        <a:spcBef>
          <a:spcPct val="20000"/>
        </a:spcBef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936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3870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805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7739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4676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21610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8545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95479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5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1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8"/>
            <a:ext cx="8891662" cy="133081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20905" y="6569007"/>
            <a:ext cx="128241" cy="12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663341"/>
            <a:fld id="{0A34F8B7-923E-4E9F-AE3F-2D64B3EAD121}" type="slidenum">
              <a:rPr lang="en-GB" sz="813" b="0">
                <a:solidFill>
                  <a:srgbClr val="000000"/>
                </a:solidFill>
                <a:latin typeface="Arial"/>
              </a:rPr>
              <a:pPr defTabSz="663341"/>
              <a:t>‹#›</a:t>
            </a:fld>
            <a:endParaRPr lang="en-GB" sz="81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40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13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5939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9" r:id="rId9"/>
    <p:sldLayoutId id="2147484070" r:id="rId10"/>
    <p:sldLayoutId id="2147484071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673870" rtl="0" eaLnBrk="1" latinLnBrk="0" hangingPunct="1">
        <a:lnSpc>
          <a:spcPct val="90000"/>
        </a:lnSpc>
        <a:spcBef>
          <a:spcPct val="0"/>
        </a:spcBef>
        <a:buNone/>
        <a:defRPr sz="162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73870" rtl="0" eaLnBrk="1" latinLnBrk="0" hangingPunct="1">
        <a:spcBef>
          <a:spcPts val="886"/>
        </a:spcBef>
        <a:buFont typeface="Arial" pitchFamily="34" charset="0"/>
        <a:buNone/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196548" indent="-196548" algn="l" defTabSz="673870" rtl="0" eaLnBrk="1" latinLnBrk="0" hangingPunct="1">
        <a:spcBef>
          <a:spcPts val="443"/>
        </a:spcBef>
        <a:buClr>
          <a:schemeClr val="tx2"/>
        </a:buClr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400111" indent="-203566" algn="l" defTabSz="673870" rtl="0" eaLnBrk="1" latinLnBrk="0" hangingPunct="1">
        <a:spcBef>
          <a:spcPts val="443"/>
        </a:spcBef>
        <a:buClr>
          <a:schemeClr val="tx2"/>
        </a:buClr>
        <a:buFont typeface="Arial" pitchFamily="34" charset="0"/>
        <a:buChar char="−"/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596659" indent="-196548" algn="l" defTabSz="673870" rtl="0" eaLnBrk="1" latinLnBrk="0" hangingPunct="1">
        <a:spcBef>
          <a:spcPts val="443"/>
        </a:spcBef>
        <a:buClr>
          <a:schemeClr val="tx2"/>
        </a:buClr>
        <a:buFont typeface="Arial" pitchFamily="34" charset="0"/>
        <a:buChar char="−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793200" indent="-196548" algn="l" defTabSz="673870" rtl="0" eaLnBrk="1" latinLnBrk="0" hangingPunct="1">
        <a:spcBef>
          <a:spcPts val="443"/>
        </a:spcBef>
        <a:buClr>
          <a:schemeClr val="tx2"/>
        </a:buClr>
        <a:buFont typeface="Arial" pitchFamily="34" charset="0"/>
        <a:buChar char="−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3141" indent="-168467" algn="l" defTabSz="673870" rtl="0" eaLnBrk="1" latinLnBrk="0" hangingPunct="1">
        <a:spcBef>
          <a:spcPct val="20000"/>
        </a:spcBef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190077" indent="-168467" algn="l" defTabSz="673870" rtl="0" eaLnBrk="1" latinLnBrk="0" hangingPunct="1">
        <a:spcBef>
          <a:spcPct val="20000"/>
        </a:spcBef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27012" indent="-168467" algn="l" defTabSz="673870" rtl="0" eaLnBrk="1" latinLnBrk="0" hangingPunct="1">
        <a:spcBef>
          <a:spcPct val="20000"/>
        </a:spcBef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863948" indent="-168467" algn="l" defTabSz="673870" rtl="0" eaLnBrk="1" latinLnBrk="0" hangingPunct="1">
        <a:spcBef>
          <a:spcPct val="20000"/>
        </a:spcBef>
        <a:buFont typeface="Arial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936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3870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805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7739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4676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21610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8545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95479" algn="l" defTabSz="6738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50503" y="294387"/>
            <a:ext cx="8804996" cy="68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32" name="Rectangle 230"/>
          <p:cNvSpPr>
            <a:spLocks noChangeArrowheads="1"/>
          </p:cNvSpPr>
          <p:nvPr/>
        </p:nvSpPr>
        <p:spPr bwMode="auto">
          <a:xfrm>
            <a:off x="206249" y="294387"/>
            <a:ext cx="138005" cy="5452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910" tIns="45457" rIns="90910" bIns="45457" anchor="ctr"/>
          <a:lstStyle/>
          <a:p>
            <a:pPr defTabSz="853098">
              <a:spcBef>
                <a:spcPct val="50000"/>
              </a:spcBef>
            </a:pPr>
            <a:endParaRPr lang="en-US" sz="662" b="0" i="1">
              <a:solidFill>
                <a:srgbClr val="000000"/>
              </a:solidFill>
            </a:endParaRPr>
          </a:p>
        </p:txBody>
      </p:sp>
      <p:sp>
        <p:nvSpPr>
          <p:cNvPr id="17" name="Footer Placeholder 2"/>
          <p:cNvSpPr txBox="1">
            <a:spLocks/>
          </p:cNvSpPr>
          <p:nvPr userDrawn="1"/>
        </p:nvSpPr>
        <p:spPr bwMode="auto">
          <a:xfrm>
            <a:off x="9150678" y="6557934"/>
            <a:ext cx="409641" cy="160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r" defTabSz="901700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rgbClr val="A5A6A9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fld id="{16F8BDC3-5235-4629-B7D0-C86CB5DC455F}" type="slidenum">
              <a:rPr lang="en-GB" sz="1041" smtClean="0"/>
              <a:pPr algn="ctr">
                <a:defRPr/>
              </a:pPr>
              <a:t>‹#›</a:t>
            </a:fld>
            <a:endParaRPr lang="en-GB" sz="1041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95696" y="6506729"/>
            <a:ext cx="3342441" cy="2625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/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259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557" algn="l" defTabSz="1049852" rtl="0" eaLnBrk="0" fontAlgn="base" hangingPunct="0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5114" algn="l" defTabSz="1049852" rtl="0" eaLnBrk="0" fontAlgn="base" hangingPunct="0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671" algn="l" defTabSz="1049852" rtl="0" eaLnBrk="0" fontAlgn="base" hangingPunct="0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30228" algn="l" defTabSz="1049852" rtl="0" eaLnBrk="0" fontAlgn="base" hangingPunct="0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213275" indent="-213275" algn="l" defTabSz="853098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514">
          <a:solidFill>
            <a:schemeClr val="tx1"/>
          </a:solidFill>
          <a:latin typeface="+mn-lt"/>
          <a:ea typeface="+mn-ea"/>
          <a:cs typeface="+mn-cs"/>
        </a:defRPr>
      </a:lvl1pPr>
      <a:lvl2pPr marL="441569" indent="-226792" algn="l" defTabSz="853098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4843" indent="-211773" algn="l" defTabSz="853098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8118" indent="-211773" algn="l" defTabSz="853098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81392" indent="-211773" algn="l" defTabSz="853098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1382" indent="-201259" algn="l" defTabSz="1049852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939" indent="-201259" algn="l" defTabSz="1049852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6496" indent="-201259" algn="l" defTabSz="1049852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9053" indent="-201259" algn="l" defTabSz="1049852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557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5114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671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30228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785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5342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7898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60455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0506" y="1249643"/>
            <a:ext cx="8804996" cy="4973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123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Click to edit Master text styles</a:t>
            </a:r>
          </a:p>
          <a:p>
            <a:pPr lvl="2"/>
            <a:r>
              <a:rPr lang="en-GB" smtClean="0"/>
              <a:t>Click to edit Master text styles</a:t>
            </a:r>
          </a:p>
          <a:p>
            <a:pPr lvl="3"/>
            <a:r>
              <a:rPr lang="en-GB" smtClean="0"/>
              <a:t>Click to edit Master text styles</a:t>
            </a:r>
          </a:p>
        </p:txBody>
      </p:sp>
      <p:sp>
        <p:nvSpPr>
          <p:cNvPr id="13315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50506" y="294390"/>
            <a:ext cx="8804996" cy="681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17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2" name="Rectangle 85"/>
          <p:cNvSpPr>
            <a:spLocks noChangeArrowheads="1"/>
          </p:cNvSpPr>
          <p:nvPr/>
        </p:nvSpPr>
        <p:spPr bwMode="auto">
          <a:xfrm>
            <a:off x="206252" y="294390"/>
            <a:ext cx="138005" cy="5452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none" lIns="89415" tIns="44710" rIns="89415" bIns="44710" anchor="ctr"/>
          <a:lstStyle/>
          <a:p>
            <a:pPr defTabSz="837669">
              <a:spcBef>
                <a:spcPct val="50000"/>
              </a:spcBef>
              <a:defRPr/>
            </a:pPr>
            <a:endParaRPr lang="en-US" sz="662" b="0" i="1" dirty="0">
              <a:solidFill>
                <a:srgbClr val="000000"/>
              </a:solidFill>
            </a:endParaRPr>
          </a:p>
        </p:txBody>
      </p:sp>
      <p:sp>
        <p:nvSpPr>
          <p:cNvPr id="2054" name="Rectangle 396"/>
          <p:cNvSpPr>
            <a:spLocks noChangeArrowheads="1"/>
          </p:cNvSpPr>
          <p:nvPr/>
        </p:nvSpPr>
        <p:spPr bwMode="auto">
          <a:xfrm>
            <a:off x="4875800" y="6403923"/>
            <a:ext cx="163506" cy="16017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/>
          <a:p>
            <a:pPr defTabSz="837669">
              <a:defRPr/>
            </a:pPr>
            <a:fld id="{6C183D7D-208E-4596-A6EE-87AEAFE65D86}" type="slidenum">
              <a:rPr lang="en-GB" sz="1041" b="0">
                <a:solidFill>
                  <a:srgbClr val="000000"/>
                </a:solidFill>
              </a:rPr>
              <a:pPr defTabSz="837669">
                <a:defRPr/>
              </a:pPr>
              <a:t>‹#›</a:t>
            </a:fld>
            <a:endParaRPr lang="en-GB" sz="1041" b="0" dirty="0">
              <a:solidFill>
                <a:srgbClr val="000000"/>
              </a:solidFill>
            </a:endParaRPr>
          </a:p>
        </p:txBody>
      </p:sp>
      <p:sp>
        <p:nvSpPr>
          <p:cNvPr id="3254" name="Text Box 182"/>
          <p:cNvSpPr txBox="1">
            <a:spLocks noChangeArrowheads="1"/>
          </p:cNvSpPr>
          <p:nvPr/>
        </p:nvSpPr>
        <p:spPr bwMode="auto">
          <a:xfrm>
            <a:off x="9326622" y="6401404"/>
            <a:ext cx="65" cy="1309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algn="r" defTabSz="852681">
              <a:defRPr/>
            </a:pPr>
            <a:endParaRPr lang="en-GB" sz="851" dirty="0">
              <a:solidFill>
                <a:srgbClr val="A5A6A9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384905" y="6356345"/>
            <a:ext cx="3136192" cy="364979"/>
          </a:xfrm>
          <a:prstGeom prst="rect">
            <a:avLst/>
          </a:prstGeom>
        </p:spPr>
        <p:txBody>
          <a:bodyPr vert="horz" lIns="91396" tIns="45698" rIns="91396" bIns="45698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/>
            <a:endParaRPr lang="en-CA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980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  <p:sldLayoutId id="2147484089" r:id="rId12"/>
    <p:sldLayoutId id="2147484090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838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0838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838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838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838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25437" algn="l" defTabSz="1032587" rtl="0" fontAlgn="base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6pPr>
      <a:lvl7pPr marL="850883" algn="l" defTabSz="1032587" rtl="0" fontAlgn="base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7pPr>
      <a:lvl8pPr marL="1276327" algn="l" defTabSz="1032587" rtl="0" fontAlgn="base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8pPr>
      <a:lvl9pPr marL="1701760" algn="l" defTabSz="1032587" rtl="0" fontAlgn="base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66634" indent="-166634" algn="l" defTabSz="837669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25761" indent="-156124" algn="l" defTabSz="837669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2902" indent="-174140" algn="l" defTabSz="837669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63531" indent="-156124" algn="l" defTabSz="837669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92434" indent="-207166" algn="l" defTabSz="108386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437336" indent="-197954" algn="l" defTabSz="1032587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62782" indent="-197954" algn="l" defTabSz="1032587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288221" indent="-197954" algn="l" defTabSz="1032587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13664" indent="-197954" algn="l" defTabSz="1032587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5088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25437" algn="l" defTabSz="85088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50883" algn="l" defTabSz="85088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76327" algn="l" defTabSz="85088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01760" algn="l" defTabSz="85088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27202" algn="l" defTabSz="85088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52645" algn="l" defTabSz="85088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2978087" algn="l" defTabSz="85088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03518" algn="l" defTabSz="85088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63"/>
            <a:ext cx="9906000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5733143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1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60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36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3276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099" r:id="rId8"/>
    <p:sldLayoutId id="2147484100" r:id="rId9"/>
    <p:sldLayoutId id="2147484103" r:id="rId10"/>
    <p:sldLayoutId id="2147484104" r:id="rId11"/>
    <p:sldLayoutId id="2147484105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4" y="773"/>
            <a:ext cx="9897007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6552234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2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83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406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164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50503" y="294387"/>
            <a:ext cx="8804996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2051" name="Rectangle 85"/>
          <p:cNvSpPr>
            <a:spLocks noChangeArrowheads="1"/>
          </p:cNvSpPr>
          <p:nvPr/>
        </p:nvSpPr>
        <p:spPr bwMode="auto">
          <a:xfrm>
            <a:off x="206249" y="294387"/>
            <a:ext cx="138005" cy="5452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910" tIns="45457" rIns="90910" bIns="45457" anchor="ctr"/>
          <a:lstStyle>
            <a:lvl1pPr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2052" name="Rectangle 396"/>
          <p:cNvSpPr>
            <a:spLocks noChangeArrowheads="1"/>
          </p:cNvSpPr>
          <p:nvPr/>
        </p:nvSpPr>
        <p:spPr bwMode="auto">
          <a:xfrm>
            <a:off x="4875039" y="6403923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E97BCFF7-97A7-4721-A67C-70BCBAD33F22}" type="slidenum">
              <a:rPr lang="en-GB" altLang="en-US" sz="1041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3257" name="Rectangle 18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52401" y="6404405"/>
            <a:ext cx="65" cy="160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853098" eaLnBrk="0" hangingPunct="0">
              <a:defRPr sz="1041">
                <a:solidFill>
                  <a:srgbClr val="A5A6A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2966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557" algn="l" defTabSz="1049852" rtl="0" fontAlgn="base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6pPr>
      <a:lvl7pPr marL="865114" algn="l" defTabSz="1049852" rtl="0" fontAlgn="base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7pPr>
      <a:lvl8pPr marL="1297671" algn="l" defTabSz="1049852" rtl="0" fontAlgn="base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8pPr>
      <a:lvl9pPr marL="1730228" algn="l" defTabSz="1049852" rtl="0" fontAlgn="base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213275" indent="-213275" algn="l" defTabSz="853098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514">
          <a:solidFill>
            <a:schemeClr val="tx1"/>
          </a:solidFill>
          <a:latin typeface="+mn-lt"/>
          <a:ea typeface="+mn-ea"/>
          <a:cs typeface="+mn-cs"/>
        </a:defRPr>
      </a:lvl1pPr>
      <a:lvl2pPr marL="441569" indent="-226792" algn="l" defTabSz="853098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4843" indent="-211773" algn="l" defTabSz="853098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8118" indent="-211773" algn="l" defTabSz="853098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81392" indent="-211773" algn="l" defTabSz="1102419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461382" indent="-201259" algn="l" defTabSz="1049852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939" indent="-201259" algn="l" defTabSz="1049852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6496" indent="-201259" algn="l" defTabSz="1049852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9053" indent="-201259" algn="l" defTabSz="1049852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557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5114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671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30228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785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5342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7898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60455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343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223" y="163513"/>
            <a:ext cx="8963554" cy="72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223" y="1198521"/>
            <a:ext cx="8963554" cy="41545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216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4857552" y="6503989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defTabSz="889000" eaLnBrk="1" hangingPunct="1">
              <a:spcAft>
                <a:spcPts val="0"/>
              </a:spcAft>
            </a:pPr>
            <a:fld id="{0AAE6F06-DF1F-4AFE-8A52-B806E3E9D437}" type="slidenum">
              <a:rPr lang="en-GB" b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defTabSz="889000" eaLnBrk="1" hangingPunct="1">
                <a:spcAft>
                  <a:spcPts val="0"/>
                </a:spcAft>
              </a:pPr>
              <a:t>‹#›</a:t>
            </a:fld>
            <a:endParaRPr lang="en-GB" b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Text Box 211"/>
          <p:cNvSpPr txBox="1">
            <a:spLocks noChangeArrowheads="1"/>
          </p:cNvSpPr>
          <p:nvPr/>
        </p:nvSpPr>
        <p:spPr bwMode="auto">
          <a:xfrm>
            <a:off x="9434712" y="6503989"/>
            <a:ext cx="65" cy="1384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9017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900" dirty="0">
              <a:solidFill>
                <a:srgbClr val="A5A6A9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Rectangle 230"/>
          <p:cNvSpPr>
            <a:spLocks noChangeArrowheads="1"/>
          </p:cNvSpPr>
          <p:nvPr/>
        </p:nvSpPr>
        <p:spPr bwMode="auto">
          <a:xfrm>
            <a:off x="215900" y="163513"/>
            <a:ext cx="144463" cy="576263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96087" tIns="48045" rIns="96087" bIns="48045" anchor="ctr"/>
          <a:lstStyle/>
          <a:p>
            <a:pPr algn="l" defTabSz="901700" eaLnBrk="1" fontAlgn="auto" hangingPunct="1">
              <a:spcBef>
                <a:spcPct val="50000"/>
              </a:spcBef>
              <a:spcAft>
                <a:spcPts val="0"/>
              </a:spcAft>
            </a:pPr>
            <a:endParaRPr lang="en-GB" sz="700" b="0" i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>
              <a:solidFill>
                <a:srgbClr val="000000">
                  <a:tint val="75000"/>
                </a:srgbClr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8929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6" r:id="rId5"/>
  </p:sldLayoutIdLst>
  <p:hf sldNum="0" hdr="0" dt="0"/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200" b="0">
          <a:solidFill>
            <a:schemeClr val="tx2"/>
          </a:solidFill>
          <a:latin typeface="+mj-lt"/>
          <a:ea typeface="+mj-ea"/>
          <a:cs typeface="Arial"/>
          <a:sym typeface="Arial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180975" indent="-180975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None/>
        <a:defRPr sz="1600" b="1" i="0" baseline="0">
          <a:solidFill>
            <a:schemeClr val="tx1"/>
          </a:solidFill>
          <a:latin typeface="+mj-lt"/>
          <a:ea typeface="+mn-ea"/>
          <a:cs typeface="Arial"/>
          <a:sym typeface="Arial"/>
        </a:defRPr>
      </a:lvl1pPr>
      <a:lvl2pPr marL="283464" marR="0" indent="-173736" algn="l" defTabSz="8890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2"/>
        </a:buClr>
        <a:buSzTx/>
        <a:buFont typeface="Arial" pitchFamily="34" charset="0"/>
        <a:buChar char="•"/>
        <a:tabLst/>
        <a:defRPr sz="1400" b="0" i="0" baseline="0">
          <a:solidFill>
            <a:schemeClr val="tx1"/>
          </a:solidFill>
          <a:latin typeface="+mj-lt"/>
          <a:cs typeface="Arial"/>
          <a:sym typeface="Arial"/>
        </a:defRPr>
      </a:lvl2pPr>
      <a:lvl3pPr marL="576072" indent="-173736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 b="0" i="0" baseline="0">
          <a:solidFill>
            <a:schemeClr val="tx1"/>
          </a:solidFill>
          <a:latin typeface="+mj-lt"/>
          <a:cs typeface="Arial"/>
          <a:sym typeface="Arial"/>
        </a:defRPr>
      </a:lvl3pPr>
      <a:lvl4pPr marL="905256" indent="-171450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000" b="0" i="0" baseline="0">
          <a:solidFill>
            <a:schemeClr val="tx1"/>
          </a:solidFill>
          <a:latin typeface="+mj-lt"/>
          <a:cs typeface="Arial"/>
          <a:sym typeface="Arial"/>
        </a:defRPr>
      </a:lvl4pPr>
      <a:lvl5pPr marL="1924050" indent="-219075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900" b="0" i="0">
          <a:solidFill>
            <a:schemeClr val="tx1"/>
          </a:solidFill>
          <a:latin typeface="+mj-lt"/>
          <a:cs typeface="Arial"/>
          <a:sym typeface="Arial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4" y="773"/>
            <a:ext cx="9897007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0" y="730645"/>
            <a:ext cx="6552234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26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481" y="6554612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6420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6420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732" y="644840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2551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843" r:id="rId4"/>
    <p:sldLayoutId id="2147483844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937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9378" rtl="0" eaLnBrk="1" latinLnBrk="0" hangingPunct="1">
        <a:spcBef>
          <a:spcPts val="109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905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2444" indent="-250543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4349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6246" indent="-241905" algn="l" defTabSz="82937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8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47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016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859" indent="-207344" algn="l" defTabSz="8293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90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7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068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756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447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13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825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512" algn="l" defTabSz="82937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2138" y="1257300"/>
            <a:ext cx="9037637" cy="5168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35995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Click to edit Master text styles</a:t>
            </a:r>
          </a:p>
          <a:p>
            <a:pPr lvl="2"/>
            <a:r>
              <a:rPr lang="en-GB" smtClean="0"/>
              <a:t>Click to edit Master text styles</a:t>
            </a:r>
          </a:p>
        </p:txBody>
      </p:sp>
      <p:sp>
        <p:nvSpPr>
          <p:cNvPr id="2051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92143" y="484188"/>
            <a:ext cx="76946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title style</a:t>
            </a:r>
          </a:p>
        </p:txBody>
      </p:sp>
      <p:sp>
        <p:nvSpPr>
          <p:cNvPr id="2052" name="Rectangle 43"/>
          <p:cNvSpPr>
            <a:spLocks noChangeArrowheads="1"/>
          </p:cNvSpPr>
          <p:nvPr/>
        </p:nvSpPr>
        <p:spPr bwMode="gray">
          <a:xfrm>
            <a:off x="282582" y="11"/>
            <a:ext cx="149225" cy="107632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8" tIns="45715" rIns="91428" bIns="45715" anchor="ctr"/>
          <a:lstStyle/>
          <a:p>
            <a:pPr algn="l" defTabSz="858838">
              <a:spcBef>
                <a:spcPct val="50000"/>
              </a:spcBef>
            </a:pPr>
            <a:endParaRPr lang="en-US" sz="600" b="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53" name="Group 44"/>
          <p:cNvGrpSpPr>
            <a:grpSpLocks noChangeAspect="1"/>
          </p:cNvGrpSpPr>
          <p:nvPr/>
        </p:nvGrpSpPr>
        <p:grpSpPr bwMode="auto">
          <a:xfrm>
            <a:off x="8407408" y="527208"/>
            <a:ext cx="1220788" cy="214313"/>
            <a:chOff x="4834" y="3929"/>
            <a:chExt cx="1134" cy="199"/>
          </a:xfrm>
        </p:grpSpPr>
        <p:sp>
          <p:nvSpPr>
            <p:cNvPr id="2056" name="AutoShape 45"/>
            <p:cNvSpPr>
              <a:spLocks noChangeAspect="1" noChangeArrowheads="1" noTextEdit="1"/>
            </p:cNvSpPr>
            <p:nvPr userDrawn="1"/>
          </p:nvSpPr>
          <p:spPr bwMode="auto">
            <a:xfrm>
              <a:off x="4834" y="3929"/>
              <a:ext cx="1134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57" name="Freeform 46"/>
            <p:cNvSpPr>
              <a:spLocks noEditPoints="1"/>
            </p:cNvSpPr>
            <p:nvPr userDrawn="1"/>
          </p:nvSpPr>
          <p:spPr bwMode="auto">
            <a:xfrm>
              <a:off x="4834" y="3928"/>
              <a:ext cx="335" cy="199"/>
            </a:xfrm>
            <a:custGeom>
              <a:avLst/>
              <a:gdLst>
                <a:gd name="T0" fmla="*/ 9 w 415"/>
                <a:gd name="T1" fmla="*/ 4 h 246"/>
                <a:gd name="T2" fmla="*/ 8 w 415"/>
                <a:gd name="T3" fmla="*/ 5 h 246"/>
                <a:gd name="T4" fmla="*/ 7 w 415"/>
                <a:gd name="T5" fmla="*/ 5 h 246"/>
                <a:gd name="T6" fmla="*/ 6 w 415"/>
                <a:gd name="T7" fmla="*/ 5 h 246"/>
                <a:gd name="T8" fmla="*/ 6 w 415"/>
                <a:gd name="T9" fmla="*/ 5 h 246"/>
                <a:gd name="T10" fmla="*/ 6 w 415"/>
                <a:gd name="T11" fmla="*/ 5 h 246"/>
                <a:gd name="T12" fmla="*/ 5 w 415"/>
                <a:gd name="T13" fmla="*/ 5 h 246"/>
                <a:gd name="T14" fmla="*/ 5 w 415"/>
                <a:gd name="T15" fmla="*/ 3 h 246"/>
                <a:gd name="T16" fmla="*/ 6 w 415"/>
                <a:gd name="T17" fmla="*/ 5 h 246"/>
                <a:gd name="T18" fmla="*/ 7 w 415"/>
                <a:gd name="T19" fmla="*/ 5 h 246"/>
                <a:gd name="T20" fmla="*/ 8 w 415"/>
                <a:gd name="T21" fmla="*/ 5 h 246"/>
                <a:gd name="T22" fmla="*/ 8 w 415"/>
                <a:gd name="T23" fmla="*/ 4 h 246"/>
                <a:gd name="T24" fmla="*/ 8 w 415"/>
                <a:gd name="T25" fmla="*/ 3 h 246"/>
                <a:gd name="T26" fmla="*/ 6 w 415"/>
                <a:gd name="T27" fmla="*/ 2 h 246"/>
                <a:gd name="T28" fmla="*/ 5 w 415"/>
                <a:gd name="T29" fmla="*/ 2 h 246"/>
                <a:gd name="T30" fmla="*/ 5 w 415"/>
                <a:gd name="T31" fmla="*/ 2 h 246"/>
                <a:gd name="T32" fmla="*/ 6 w 415"/>
                <a:gd name="T33" fmla="*/ 2 h 246"/>
                <a:gd name="T34" fmla="*/ 8 w 415"/>
                <a:gd name="T35" fmla="*/ 2 h 246"/>
                <a:gd name="T36" fmla="*/ 8 w 415"/>
                <a:gd name="T37" fmla="*/ 2 h 246"/>
                <a:gd name="T38" fmla="*/ 8 w 415"/>
                <a:gd name="T39" fmla="*/ 2 h 246"/>
                <a:gd name="T40" fmla="*/ 8 w 415"/>
                <a:gd name="T41" fmla="*/ 1 h 246"/>
                <a:gd name="T42" fmla="*/ 8 w 415"/>
                <a:gd name="T43" fmla="*/ 2 h 246"/>
                <a:gd name="T44" fmla="*/ 8 w 415"/>
                <a:gd name="T45" fmla="*/ 2 h 246"/>
                <a:gd name="T46" fmla="*/ 7 w 415"/>
                <a:gd name="T47" fmla="*/ 2 h 246"/>
                <a:gd name="T48" fmla="*/ 6 w 415"/>
                <a:gd name="T49" fmla="*/ 2 h 246"/>
                <a:gd name="T50" fmla="*/ 6 w 415"/>
                <a:gd name="T51" fmla="*/ 2 h 246"/>
                <a:gd name="T52" fmla="*/ 6 w 415"/>
                <a:gd name="T53" fmla="*/ 2 h 246"/>
                <a:gd name="T54" fmla="*/ 8 w 415"/>
                <a:gd name="T55" fmla="*/ 2 h 246"/>
                <a:gd name="T56" fmla="*/ 8 w 415"/>
                <a:gd name="T57" fmla="*/ 3 h 246"/>
                <a:gd name="T58" fmla="*/ 4 w 415"/>
                <a:gd name="T59" fmla="*/ 5 h 246"/>
                <a:gd name="T60" fmla="*/ 3 w 415"/>
                <a:gd name="T61" fmla="*/ 5 h 246"/>
                <a:gd name="T62" fmla="*/ 3 w 415"/>
                <a:gd name="T63" fmla="*/ 5 h 246"/>
                <a:gd name="T64" fmla="*/ 5 w 415"/>
                <a:gd name="T65" fmla="*/ 5 h 246"/>
                <a:gd name="T66" fmla="*/ 5 w 415"/>
                <a:gd name="T67" fmla="*/ 5 h 246"/>
                <a:gd name="T68" fmla="*/ 4 w 415"/>
                <a:gd name="T69" fmla="*/ 2 h 246"/>
                <a:gd name="T70" fmla="*/ 5 w 415"/>
                <a:gd name="T71" fmla="*/ 2 h 246"/>
                <a:gd name="T72" fmla="*/ 5 w 415"/>
                <a:gd name="T73" fmla="*/ 2 h 246"/>
                <a:gd name="T74" fmla="*/ 3 w 415"/>
                <a:gd name="T75" fmla="*/ 2 h 246"/>
                <a:gd name="T76" fmla="*/ 3 w 415"/>
                <a:gd name="T77" fmla="*/ 2 h 246"/>
                <a:gd name="T78" fmla="*/ 4 w 415"/>
                <a:gd name="T79" fmla="*/ 2 h 246"/>
                <a:gd name="T80" fmla="*/ 2 w 415"/>
                <a:gd name="T81" fmla="*/ 2 h 246"/>
                <a:gd name="T82" fmla="*/ 2 w 415"/>
                <a:gd name="T83" fmla="*/ 2 h 246"/>
                <a:gd name="T84" fmla="*/ 2 w 415"/>
                <a:gd name="T85" fmla="*/ 2 h 246"/>
                <a:gd name="T86" fmla="*/ 0 w 415"/>
                <a:gd name="T87" fmla="*/ 2 h 246"/>
                <a:gd name="T88" fmla="*/ 2 w 415"/>
                <a:gd name="T89" fmla="*/ 2 h 246"/>
                <a:gd name="T90" fmla="*/ 2 w 415"/>
                <a:gd name="T91" fmla="*/ 5 h 246"/>
                <a:gd name="T92" fmla="*/ 2 w 415"/>
                <a:gd name="T93" fmla="*/ 5 h 246"/>
                <a:gd name="T94" fmla="*/ 0 w 415"/>
                <a:gd name="T95" fmla="*/ 5 h 246"/>
                <a:gd name="T96" fmla="*/ 2 w 415"/>
                <a:gd name="T97" fmla="*/ 5 h 246"/>
                <a:gd name="T98" fmla="*/ 2 w 415"/>
                <a:gd name="T99" fmla="*/ 5 h 246"/>
                <a:gd name="T100" fmla="*/ 2 w 415"/>
                <a:gd name="T101" fmla="*/ 2 h 24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15" h="246">
                  <a:moveTo>
                    <a:pt x="408" y="153"/>
                  </a:moveTo>
                  <a:cubicBezTo>
                    <a:pt x="413" y="161"/>
                    <a:pt x="415" y="170"/>
                    <a:pt x="415" y="180"/>
                  </a:cubicBezTo>
                  <a:cubicBezTo>
                    <a:pt x="415" y="188"/>
                    <a:pt x="413" y="196"/>
                    <a:pt x="409" y="205"/>
                  </a:cubicBezTo>
                  <a:cubicBezTo>
                    <a:pt x="406" y="214"/>
                    <a:pt x="401" y="221"/>
                    <a:pt x="395" y="227"/>
                  </a:cubicBezTo>
                  <a:cubicBezTo>
                    <a:pt x="388" y="233"/>
                    <a:pt x="381" y="237"/>
                    <a:pt x="374" y="240"/>
                  </a:cubicBezTo>
                  <a:cubicBezTo>
                    <a:pt x="365" y="244"/>
                    <a:pt x="355" y="246"/>
                    <a:pt x="345" y="246"/>
                  </a:cubicBezTo>
                  <a:cubicBezTo>
                    <a:pt x="337" y="246"/>
                    <a:pt x="328" y="245"/>
                    <a:pt x="318" y="242"/>
                  </a:cubicBezTo>
                  <a:cubicBezTo>
                    <a:pt x="309" y="238"/>
                    <a:pt x="299" y="234"/>
                    <a:pt x="290" y="230"/>
                  </a:cubicBezTo>
                  <a:cubicBezTo>
                    <a:pt x="288" y="229"/>
                    <a:pt x="287" y="229"/>
                    <a:pt x="286" y="229"/>
                  </a:cubicBezTo>
                  <a:cubicBezTo>
                    <a:pt x="285" y="229"/>
                    <a:pt x="284" y="229"/>
                    <a:pt x="283" y="229"/>
                  </a:cubicBezTo>
                  <a:cubicBezTo>
                    <a:pt x="280" y="229"/>
                    <a:pt x="277" y="229"/>
                    <a:pt x="275" y="231"/>
                  </a:cubicBezTo>
                  <a:cubicBezTo>
                    <a:pt x="273" y="232"/>
                    <a:pt x="271" y="234"/>
                    <a:pt x="270" y="236"/>
                  </a:cubicBezTo>
                  <a:cubicBezTo>
                    <a:pt x="268" y="239"/>
                    <a:pt x="268" y="242"/>
                    <a:pt x="267" y="246"/>
                  </a:cubicBezTo>
                  <a:cubicBezTo>
                    <a:pt x="263" y="246"/>
                    <a:pt x="263" y="246"/>
                    <a:pt x="263" y="246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7" y="163"/>
                    <a:pt x="267" y="163"/>
                    <a:pt x="267" y="163"/>
                  </a:cubicBezTo>
                  <a:cubicBezTo>
                    <a:pt x="269" y="174"/>
                    <a:pt x="272" y="184"/>
                    <a:pt x="277" y="194"/>
                  </a:cubicBezTo>
                  <a:cubicBezTo>
                    <a:pt x="280" y="200"/>
                    <a:pt x="284" y="206"/>
                    <a:pt x="290" y="212"/>
                  </a:cubicBezTo>
                  <a:cubicBezTo>
                    <a:pt x="295" y="218"/>
                    <a:pt x="301" y="222"/>
                    <a:pt x="310" y="226"/>
                  </a:cubicBezTo>
                  <a:cubicBezTo>
                    <a:pt x="318" y="229"/>
                    <a:pt x="327" y="231"/>
                    <a:pt x="336" y="231"/>
                  </a:cubicBezTo>
                  <a:cubicBezTo>
                    <a:pt x="340" y="231"/>
                    <a:pt x="344" y="230"/>
                    <a:pt x="347" y="230"/>
                  </a:cubicBezTo>
                  <a:cubicBezTo>
                    <a:pt x="355" y="229"/>
                    <a:pt x="363" y="224"/>
                    <a:pt x="370" y="216"/>
                  </a:cubicBezTo>
                  <a:cubicBezTo>
                    <a:pt x="378" y="208"/>
                    <a:pt x="381" y="199"/>
                    <a:pt x="381" y="188"/>
                  </a:cubicBezTo>
                  <a:cubicBezTo>
                    <a:pt x="381" y="187"/>
                    <a:pt x="381" y="185"/>
                    <a:pt x="381" y="185"/>
                  </a:cubicBezTo>
                  <a:cubicBezTo>
                    <a:pt x="381" y="179"/>
                    <a:pt x="379" y="174"/>
                    <a:pt x="377" y="170"/>
                  </a:cubicBezTo>
                  <a:cubicBezTo>
                    <a:pt x="374" y="163"/>
                    <a:pt x="369" y="157"/>
                    <a:pt x="361" y="152"/>
                  </a:cubicBezTo>
                  <a:cubicBezTo>
                    <a:pt x="319" y="125"/>
                    <a:pt x="319" y="125"/>
                    <a:pt x="319" y="125"/>
                  </a:cubicBezTo>
                  <a:cubicBezTo>
                    <a:pt x="311" y="120"/>
                    <a:pt x="302" y="113"/>
                    <a:pt x="294" y="107"/>
                  </a:cubicBezTo>
                  <a:cubicBezTo>
                    <a:pt x="286" y="101"/>
                    <a:pt x="281" y="96"/>
                    <a:pt x="279" y="94"/>
                  </a:cubicBezTo>
                  <a:cubicBezTo>
                    <a:pt x="274" y="89"/>
                    <a:pt x="271" y="84"/>
                    <a:pt x="269" y="80"/>
                  </a:cubicBezTo>
                  <a:cubicBezTo>
                    <a:pt x="266" y="74"/>
                    <a:pt x="264" y="67"/>
                    <a:pt x="264" y="60"/>
                  </a:cubicBezTo>
                  <a:cubicBezTo>
                    <a:pt x="264" y="52"/>
                    <a:pt x="266" y="45"/>
                    <a:pt x="269" y="37"/>
                  </a:cubicBezTo>
                  <a:cubicBezTo>
                    <a:pt x="272" y="30"/>
                    <a:pt x="276" y="24"/>
                    <a:pt x="281" y="19"/>
                  </a:cubicBezTo>
                  <a:cubicBezTo>
                    <a:pt x="288" y="13"/>
                    <a:pt x="294" y="8"/>
                    <a:pt x="302" y="5"/>
                  </a:cubicBezTo>
                  <a:cubicBezTo>
                    <a:pt x="310" y="1"/>
                    <a:pt x="320" y="0"/>
                    <a:pt x="330" y="0"/>
                  </a:cubicBezTo>
                  <a:cubicBezTo>
                    <a:pt x="340" y="0"/>
                    <a:pt x="349" y="2"/>
                    <a:pt x="359" y="6"/>
                  </a:cubicBezTo>
                  <a:cubicBezTo>
                    <a:pt x="364" y="9"/>
                    <a:pt x="370" y="11"/>
                    <a:pt x="375" y="14"/>
                  </a:cubicBezTo>
                  <a:cubicBezTo>
                    <a:pt x="378" y="15"/>
                    <a:pt x="380" y="16"/>
                    <a:pt x="383" y="16"/>
                  </a:cubicBezTo>
                  <a:cubicBezTo>
                    <a:pt x="386" y="16"/>
                    <a:pt x="389" y="15"/>
                    <a:pt x="391" y="14"/>
                  </a:cubicBezTo>
                  <a:cubicBezTo>
                    <a:pt x="393" y="13"/>
                    <a:pt x="394" y="11"/>
                    <a:pt x="395" y="10"/>
                  </a:cubicBezTo>
                  <a:cubicBezTo>
                    <a:pt x="396" y="8"/>
                    <a:pt x="397" y="5"/>
                    <a:pt x="398" y="1"/>
                  </a:cubicBezTo>
                  <a:cubicBezTo>
                    <a:pt x="401" y="1"/>
                    <a:pt x="401" y="1"/>
                    <a:pt x="401" y="1"/>
                  </a:cubicBezTo>
                  <a:cubicBezTo>
                    <a:pt x="401" y="80"/>
                    <a:pt x="401" y="80"/>
                    <a:pt x="401" y="80"/>
                  </a:cubicBezTo>
                  <a:cubicBezTo>
                    <a:pt x="398" y="80"/>
                    <a:pt x="398" y="80"/>
                    <a:pt x="398" y="80"/>
                  </a:cubicBezTo>
                  <a:cubicBezTo>
                    <a:pt x="396" y="68"/>
                    <a:pt x="393" y="57"/>
                    <a:pt x="388" y="47"/>
                  </a:cubicBezTo>
                  <a:cubicBezTo>
                    <a:pt x="384" y="38"/>
                    <a:pt x="380" y="32"/>
                    <a:pt x="376" y="28"/>
                  </a:cubicBezTo>
                  <a:cubicBezTo>
                    <a:pt x="371" y="24"/>
                    <a:pt x="367" y="21"/>
                    <a:pt x="362" y="19"/>
                  </a:cubicBezTo>
                  <a:cubicBezTo>
                    <a:pt x="356" y="16"/>
                    <a:pt x="349" y="14"/>
                    <a:pt x="341" y="14"/>
                  </a:cubicBezTo>
                  <a:cubicBezTo>
                    <a:pt x="338" y="14"/>
                    <a:pt x="334" y="15"/>
                    <a:pt x="330" y="15"/>
                  </a:cubicBezTo>
                  <a:cubicBezTo>
                    <a:pt x="319" y="18"/>
                    <a:pt x="311" y="21"/>
                    <a:pt x="306" y="26"/>
                  </a:cubicBezTo>
                  <a:cubicBezTo>
                    <a:pt x="300" y="31"/>
                    <a:pt x="297" y="38"/>
                    <a:pt x="296" y="47"/>
                  </a:cubicBezTo>
                  <a:cubicBezTo>
                    <a:pt x="296" y="48"/>
                    <a:pt x="296" y="49"/>
                    <a:pt x="296" y="50"/>
                  </a:cubicBezTo>
                  <a:cubicBezTo>
                    <a:pt x="296" y="55"/>
                    <a:pt x="297" y="60"/>
                    <a:pt x="299" y="64"/>
                  </a:cubicBezTo>
                  <a:cubicBezTo>
                    <a:pt x="301" y="67"/>
                    <a:pt x="303" y="70"/>
                    <a:pt x="306" y="73"/>
                  </a:cubicBezTo>
                  <a:cubicBezTo>
                    <a:pt x="308" y="76"/>
                    <a:pt x="315" y="81"/>
                    <a:pt x="326" y="89"/>
                  </a:cubicBezTo>
                  <a:cubicBezTo>
                    <a:pt x="338" y="96"/>
                    <a:pt x="349" y="104"/>
                    <a:pt x="361" y="111"/>
                  </a:cubicBezTo>
                  <a:cubicBezTo>
                    <a:pt x="375" y="121"/>
                    <a:pt x="385" y="128"/>
                    <a:pt x="392" y="134"/>
                  </a:cubicBezTo>
                  <a:cubicBezTo>
                    <a:pt x="399" y="141"/>
                    <a:pt x="405" y="147"/>
                    <a:pt x="408" y="153"/>
                  </a:cubicBezTo>
                  <a:close/>
                  <a:moveTo>
                    <a:pt x="181" y="133"/>
                  </a:moveTo>
                  <a:cubicBezTo>
                    <a:pt x="181" y="218"/>
                    <a:pt x="181" y="218"/>
                    <a:pt x="181" y="218"/>
                  </a:cubicBezTo>
                  <a:cubicBezTo>
                    <a:pt x="181" y="224"/>
                    <a:pt x="179" y="228"/>
                    <a:pt x="175" y="232"/>
                  </a:cubicBezTo>
                  <a:cubicBezTo>
                    <a:pt x="171" y="237"/>
                    <a:pt x="166" y="239"/>
                    <a:pt x="160" y="239"/>
                  </a:cubicBezTo>
                  <a:cubicBezTo>
                    <a:pt x="149" y="239"/>
                    <a:pt x="149" y="239"/>
                    <a:pt x="149" y="239"/>
                  </a:cubicBezTo>
                  <a:cubicBezTo>
                    <a:pt x="149" y="243"/>
                    <a:pt x="149" y="243"/>
                    <a:pt x="149" y="243"/>
                  </a:cubicBezTo>
                  <a:cubicBezTo>
                    <a:pt x="246" y="243"/>
                    <a:pt x="246" y="243"/>
                    <a:pt x="246" y="243"/>
                  </a:cubicBezTo>
                  <a:cubicBezTo>
                    <a:pt x="246" y="239"/>
                    <a:pt x="246" y="239"/>
                    <a:pt x="246" y="239"/>
                  </a:cubicBezTo>
                  <a:cubicBezTo>
                    <a:pt x="235" y="239"/>
                    <a:pt x="235" y="239"/>
                    <a:pt x="235" y="239"/>
                  </a:cubicBezTo>
                  <a:cubicBezTo>
                    <a:pt x="229" y="239"/>
                    <a:pt x="224" y="237"/>
                    <a:pt x="220" y="232"/>
                  </a:cubicBezTo>
                  <a:cubicBezTo>
                    <a:pt x="216" y="228"/>
                    <a:pt x="213" y="224"/>
                    <a:pt x="213" y="218"/>
                  </a:cubicBezTo>
                  <a:cubicBezTo>
                    <a:pt x="213" y="28"/>
                    <a:pt x="213" y="28"/>
                    <a:pt x="213" y="28"/>
                  </a:cubicBezTo>
                  <a:cubicBezTo>
                    <a:pt x="213" y="22"/>
                    <a:pt x="216" y="18"/>
                    <a:pt x="220" y="14"/>
                  </a:cubicBezTo>
                  <a:cubicBezTo>
                    <a:pt x="224" y="10"/>
                    <a:pt x="229" y="8"/>
                    <a:pt x="235" y="8"/>
                  </a:cubicBezTo>
                  <a:cubicBezTo>
                    <a:pt x="246" y="8"/>
                    <a:pt x="246" y="8"/>
                    <a:pt x="246" y="8"/>
                  </a:cubicBezTo>
                  <a:cubicBezTo>
                    <a:pt x="246" y="3"/>
                    <a:pt x="246" y="3"/>
                    <a:pt x="246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9" y="8"/>
                    <a:pt x="149" y="8"/>
                    <a:pt x="14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66" y="8"/>
                    <a:pt x="171" y="10"/>
                    <a:pt x="175" y="14"/>
                  </a:cubicBezTo>
                  <a:cubicBezTo>
                    <a:pt x="179" y="18"/>
                    <a:pt x="181" y="22"/>
                    <a:pt x="181" y="28"/>
                  </a:cubicBezTo>
                  <a:cubicBezTo>
                    <a:pt x="181" y="121"/>
                    <a:pt x="181" y="121"/>
                    <a:pt x="181" y="121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5" y="22"/>
                    <a:pt x="68" y="18"/>
                    <a:pt x="72" y="14"/>
                  </a:cubicBezTo>
                  <a:cubicBezTo>
                    <a:pt x="76" y="10"/>
                    <a:pt x="81" y="8"/>
                    <a:pt x="87" y="8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8" y="8"/>
                    <a:pt x="23" y="10"/>
                    <a:pt x="27" y="14"/>
                  </a:cubicBezTo>
                  <a:cubicBezTo>
                    <a:pt x="31" y="18"/>
                    <a:pt x="33" y="22"/>
                    <a:pt x="33" y="28"/>
                  </a:cubicBezTo>
                  <a:cubicBezTo>
                    <a:pt x="33" y="218"/>
                    <a:pt x="33" y="218"/>
                    <a:pt x="33" y="218"/>
                  </a:cubicBezTo>
                  <a:cubicBezTo>
                    <a:pt x="33" y="224"/>
                    <a:pt x="31" y="228"/>
                    <a:pt x="27" y="232"/>
                  </a:cubicBezTo>
                  <a:cubicBezTo>
                    <a:pt x="22" y="237"/>
                    <a:pt x="17" y="239"/>
                    <a:pt x="12" y="239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98" y="243"/>
                    <a:pt x="98" y="243"/>
                    <a:pt x="98" y="243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1" y="239"/>
                    <a:pt x="76" y="237"/>
                    <a:pt x="72" y="232"/>
                  </a:cubicBezTo>
                  <a:cubicBezTo>
                    <a:pt x="68" y="228"/>
                    <a:pt x="65" y="224"/>
                    <a:pt x="65" y="218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181" y="133"/>
                    <a:pt x="181" y="133"/>
                    <a:pt x="181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58" name="Freeform 47"/>
            <p:cNvSpPr>
              <a:spLocks noEditPoints="1"/>
            </p:cNvSpPr>
            <p:nvPr userDrawn="1"/>
          </p:nvSpPr>
          <p:spPr bwMode="auto">
            <a:xfrm>
              <a:off x="5180" y="3931"/>
              <a:ext cx="343" cy="195"/>
            </a:xfrm>
            <a:custGeom>
              <a:avLst/>
              <a:gdLst>
                <a:gd name="T0" fmla="*/ 3 w 425"/>
                <a:gd name="T1" fmla="*/ 2 h 242"/>
                <a:gd name="T2" fmla="*/ 4 w 425"/>
                <a:gd name="T3" fmla="*/ 2 h 242"/>
                <a:gd name="T4" fmla="*/ 4 w 425"/>
                <a:gd name="T5" fmla="*/ 4 h 242"/>
                <a:gd name="T6" fmla="*/ 2 w 425"/>
                <a:gd name="T7" fmla="*/ 5 h 242"/>
                <a:gd name="T8" fmla="*/ 0 w 425"/>
                <a:gd name="T9" fmla="*/ 5 h 242"/>
                <a:gd name="T10" fmla="*/ 2 w 425"/>
                <a:gd name="T11" fmla="*/ 5 h 242"/>
                <a:gd name="T12" fmla="*/ 2 w 425"/>
                <a:gd name="T13" fmla="*/ 4 h 242"/>
                <a:gd name="T14" fmla="*/ 2 w 425"/>
                <a:gd name="T15" fmla="*/ 2 h 242"/>
                <a:gd name="T16" fmla="*/ 0 w 425"/>
                <a:gd name="T17" fmla="*/ 2 h 242"/>
                <a:gd name="T18" fmla="*/ 2 w 425"/>
                <a:gd name="T19" fmla="*/ 1 h 242"/>
                <a:gd name="T20" fmla="*/ 2 w 425"/>
                <a:gd name="T21" fmla="*/ 2 h 242"/>
                <a:gd name="T22" fmla="*/ 4 w 425"/>
                <a:gd name="T23" fmla="*/ 2 h 242"/>
                <a:gd name="T24" fmla="*/ 2 w 425"/>
                <a:gd name="T25" fmla="*/ 5 h 242"/>
                <a:gd name="T26" fmla="*/ 2 w 425"/>
                <a:gd name="T27" fmla="*/ 5 h 242"/>
                <a:gd name="T28" fmla="*/ 2 w 425"/>
                <a:gd name="T29" fmla="*/ 4 h 242"/>
                <a:gd name="T30" fmla="*/ 3 w 425"/>
                <a:gd name="T31" fmla="*/ 3 h 242"/>
                <a:gd name="T32" fmla="*/ 2 w 425"/>
                <a:gd name="T33" fmla="*/ 2 h 242"/>
                <a:gd name="T34" fmla="*/ 2 w 425"/>
                <a:gd name="T35" fmla="*/ 2 h 242"/>
                <a:gd name="T36" fmla="*/ 2 w 425"/>
                <a:gd name="T37" fmla="*/ 5 h 242"/>
                <a:gd name="T38" fmla="*/ 2 w 425"/>
                <a:gd name="T39" fmla="*/ 2 h 242"/>
                <a:gd name="T40" fmla="*/ 2 w 425"/>
                <a:gd name="T41" fmla="*/ 2 h 242"/>
                <a:gd name="T42" fmla="*/ 3 w 425"/>
                <a:gd name="T43" fmla="*/ 2 h 242"/>
                <a:gd name="T44" fmla="*/ 3 w 425"/>
                <a:gd name="T45" fmla="*/ 2 h 242"/>
                <a:gd name="T46" fmla="*/ 2 w 425"/>
                <a:gd name="T47" fmla="*/ 2 h 242"/>
                <a:gd name="T48" fmla="*/ 2 w 425"/>
                <a:gd name="T49" fmla="*/ 2 h 242"/>
                <a:gd name="T50" fmla="*/ 2 w 425"/>
                <a:gd name="T51" fmla="*/ 2 h 242"/>
                <a:gd name="T52" fmla="*/ 9 w 425"/>
                <a:gd name="T53" fmla="*/ 2 h 242"/>
                <a:gd name="T54" fmla="*/ 8 w 425"/>
                <a:gd name="T55" fmla="*/ 2 h 242"/>
                <a:gd name="T56" fmla="*/ 8 w 425"/>
                <a:gd name="T57" fmla="*/ 2 h 242"/>
                <a:gd name="T58" fmla="*/ 8 w 425"/>
                <a:gd name="T59" fmla="*/ 2 h 242"/>
                <a:gd name="T60" fmla="*/ 6 w 425"/>
                <a:gd name="T61" fmla="*/ 2 h 242"/>
                <a:gd name="T62" fmla="*/ 5 w 425"/>
                <a:gd name="T63" fmla="*/ 2 h 242"/>
                <a:gd name="T64" fmla="*/ 5 w 425"/>
                <a:gd name="T65" fmla="*/ 2 h 242"/>
                <a:gd name="T66" fmla="*/ 5 w 425"/>
                <a:gd name="T67" fmla="*/ 3 h 242"/>
                <a:gd name="T68" fmla="*/ 6 w 425"/>
                <a:gd name="T69" fmla="*/ 4 h 242"/>
                <a:gd name="T70" fmla="*/ 8 w 425"/>
                <a:gd name="T71" fmla="*/ 4 h 242"/>
                <a:gd name="T72" fmla="*/ 9 w 425"/>
                <a:gd name="T73" fmla="*/ 4 h 242"/>
                <a:gd name="T74" fmla="*/ 6 w 425"/>
                <a:gd name="T75" fmla="*/ 5 h 242"/>
                <a:gd name="T76" fmla="*/ 5 w 425"/>
                <a:gd name="T77" fmla="*/ 4 h 242"/>
                <a:gd name="T78" fmla="*/ 5 w 425"/>
                <a:gd name="T79" fmla="*/ 3 h 242"/>
                <a:gd name="T80" fmla="*/ 4 w 425"/>
                <a:gd name="T81" fmla="*/ 2 h 242"/>
                <a:gd name="T82" fmla="*/ 5 w 425"/>
                <a:gd name="T83" fmla="*/ 2 h 242"/>
                <a:gd name="T84" fmla="*/ 6 w 425"/>
                <a:gd name="T85" fmla="*/ 0 h 242"/>
                <a:gd name="T86" fmla="*/ 8 w 425"/>
                <a:gd name="T87" fmla="*/ 2 h 242"/>
                <a:gd name="T88" fmla="*/ 8 w 425"/>
                <a:gd name="T89" fmla="*/ 2 h 242"/>
                <a:gd name="T90" fmla="*/ 8 w 425"/>
                <a:gd name="T91" fmla="*/ 2 h 242"/>
                <a:gd name="T92" fmla="*/ 9 w 425"/>
                <a:gd name="T93" fmla="*/ 2 h 24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42">
                  <a:moveTo>
                    <a:pt x="181" y="63"/>
                  </a:moveTo>
                  <a:cubicBezTo>
                    <a:pt x="181" y="75"/>
                    <a:pt x="178" y="86"/>
                    <a:pt x="171" y="96"/>
                  </a:cubicBezTo>
                  <a:cubicBezTo>
                    <a:pt x="164" y="107"/>
                    <a:pt x="155" y="114"/>
                    <a:pt x="142" y="118"/>
                  </a:cubicBezTo>
                  <a:cubicBezTo>
                    <a:pt x="159" y="124"/>
                    <a:pt x="171" y="132"/>
                    <a:pt x="180" y="143"/>
                  </a:cubicBezTo>
                  <a:cubicBezTo>
                    <a:pt x="188" y="152"/>
                    <a:pt x="192" y="164"/>
                    <a:pt x="192" y="176"/>
                  </a:cubicBezTo>
                  <a:cubicBezTo>
                    <a:pt x="192" y="182"/>
                    <a:pt x="191" y="188"/>
                    <a:pt x="189" y="194"/>
                  </a:cubicBezTo>
                  <a:cubicBezTo>
                    <a:pt x="186" y="207"/>
                    <a:pt x="179" y="217"/>
                    <a:pt x="169" y="224"/>
                  </a:cubicBezTo>
                  <a:cubicBezTo>
                    <a:pt x="161" y="230"/>
                    <a:pt x="149" y="235"/>
                    <a:pt x="135" y="237"/>
                  </a:cubicBezTo>
                  <a:cubicBezTo>
                    <a:pt x="124" y="239"/>
                    <a:pt x="111" y="240"/>
                    <a:pt x="94" y="240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4" y="236"/>
                    <a:pt x="14" y="236"/>
                    <a:pt x="14" y="236"/>
                  </a:cubicBezTo>
                  <a:cubicBezTo>
                    <a:pt x="19" y="236"/>
                    <a:pt x="24" y="234"/>
                    <a:pt x="28" y="230"/>
                  </a:cubicBezTo>
                  <a:cubicBezTo>
                    <a:pt x="31" y="227"/>
                    <a:pt x="33" y="222"/>
                    <a:pt x="33" y="217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19"/>
                    <a:pt x="31" y="14"/>
                    <a:pt x="28" y="11"/>
                  </a:cubicBezTo>
                  <a:cubicBezTo>
                    <a:pt x="24" y="7"/>
                    <a:pt x="19" y="5"/>
                    <a:pt x="14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92" y="1"/>
                    <a:pt x="99" y="1"/>
                    <a:pt x="107" y="2"/>
                  </a:cubicBezTo>
                  <a:cubicBezTo>
                    <a:pt x="115" y="3"/>
                    <a:pt x="121" y="3"/>
                    <a:pt x="124" y="4"/>
                  </a:cubicBezTo>
                  <a:cubicBezTo>
                    <a:pt x="134" y="6"/>
                    <a:pt x="144" y="10"/>
                    <a:pt x="153" y="15"/>
                  </a:cubicBezTo>
                  <a:cubicBezTo>
                    <a:pt x="167" y="24"/>
                    <a:pt x="176" y="35"/>
                    <a:pt x="180" y="49"/>
                  </a:cubicBezTo>
                  <a:cubicBezTo>
                    <a:pt x="181" y="54"/>
                    <a:pt x="181" y="58"/>
                    <a:pt x="181" y="63"/>
                  </a:cubicBezTo>
                  <a:close/>
                  <a:moveTo>
                    <a:pt x="65" y="227"/>
                  </a:moveTo>
                  <a:cubicBezTo>
                    <a:pt x="70" y="228"/>
                    <a:pt x="74" y="229"/>
                    <a:pt x="79" y="230"/>
                  </a:cubicBezTo>
                  <a:cubicBezTo>
                    <a:pt x="84" y="231"/>
                    <a:pt x="90" y="231"/>
                    <a:pt x="95" y="231"/>
                  </a:cubicBezTo>
                  <a:cubicBezTo>
                    <a:pt x="103" y="231"/>
                    <a:pt x="110" y="230"/>
                    <a:pt x="117" y="229"/>
                  </a:cubicBezTo>
                  <a:cubicBezTo>
                    <a:pt x="123" y="227"/>
                    <a:pt x="130" y="224"/>
                    <a:pt x="135" y="220"/>
                  </a:cubicBezTo>
                  <a:cubicBezTo>
                    <a:pt x="142" y="215"/>
                    <a:pt x="147" y="209"/>
                    <a:pt x="151" y="201"/>
                  </a:cubicBezTo>
                  <a:cubicBezTo>
                    <a:pt x="155" y="193"/>
                    <a:pt x="157" y="185"/>
                    <a:pt x="157" y="176"/>
                  </a:cubicBezTo>
                  <a:cubicBezTo>
                    <a:pt x="157" y="167"/>
                    <a:pt x="154" y="159"/>
                    <a:pt x="150" y="151"/>
                  </a:cubicBezTo>
                  <a:cubicBezTo>
                    <a:pt x="146" y="142"/>
                    <a:pt x="139" y="135"/>
                    <a:pt x="130" y="129"/>
                  </a:cubicBezTo>
                  <a:cubicBezTo>
                    <a:pt x="126" y="126"/>
                    <a:pt x="120" y="124"/>
                    <a:pt x="112" y="123"/>
                  </a:cubicBezTo>
                  <a:cubicBezTo>
                    <a:pt x="105" y="122"/>
                    <a:pt x="97" y="121"/>
                    <a:pt x="88" y="121"/>
                  </a:cubicBezTo>
                  <a:cubicBezTo>
                    <a:pt x="78" y="121"/>
                    <a:pt x="71" y="122"/>
                    <a:pt x="65" y="123"/>
                  </a:cubicBezTo>
                  <a:cubicBezTo>
                    <a:pt x="65" y="227"/>
                    <a:pt x="65" y="227"/>
                    <a:pt x="65" y="227"/>
                  </a:cubicBezTo>
                  <a:close/>
                  <a:moveTo>
                    <a:pt x="65" y="110"/>
                  </a:moveTo>
                  <a:cubicBezTo>
                    <a:pt x="71" y="111"/>
                    <a:pt x="78" y="112"/>
                    <a:pt x="88" y="112"/>
                  </a:cubicBezTo>
                  <a:cubicBezTo>
                    <a:pt x="95" y="112"/>
                    <a:pt x="102" y="111"/>
                    <a:pt x="109" y="110"/>
                  </a:cubicBezTo>
                  <a:cubicBezTo>
                    <a:pt x="116" y="109"/>
                    <a:pt x="121" y="107"/>
                    <a:pt x="125" y="105"/>
                  </a:cubicBezTo>
                  <a:cubicBezTo>
                    <a:pt x="133" y="100"/>
                    <a:pt x="140" y="93"/>
                    <a:pt x="144" y="85"/>
                  </a:cubicBezTo>
                  <a:cubicBezTo>
                    <a:pt x="148" y="78"/>
                    <a:pt x="150" y="70"/>
                    <a:pt x="150" y="61"/>
                  </a:cubicBezTo>
                  <a:cubicBezTo>
                    <a:pt x="150" y="58"/>
                    <a:pt x="150" y="55"/>
                    <a:pt x="149" y="51"/>
                  </a:cubicBezTo>
                  <a:cubicBezTo>
                    <a:pt x="148" y="45"/>
                    <a:pt x="146" y="40"/>
                    <a:pt x="143" y="35"/>
                  </a:cubicBezTo>
                  <a:cubicBezTo>
                    <a:pt x="140" y="30"/>
                    <a:pt x="136" y="26"/>
                    <a:pt x="131" y="22"/>
                  </a:cubicBezTo>
                  <a:cubicBezTo>
                    <a:pt x="125" y="18"/>
                    <a:pt x="119" y="15"/>
                    <a:pt x="112" y="13"/>
                  </a:cubicBezTo>
                  <a:cubicBezTo>
                    <a:pt x="105" y="12"/>
                    <a:pt x="98" y="11"/>
                    <a:pt x="91" y="11"/>
                  </a:cubicBezTo>
                  <a:cubicBezTo>
                    <a:pt x="86" y="11"/>
                    <a:pt x="82" y="11"/>
                    <a:pt x="77" y="12"/>
                  </a:cubicBezTo>
                  <a:cubicBezTo>
                    <a:pt x="72" y="13"/>
                    <a:pt x="69" y="13"/>
                    <a:pt x="65" y="15"/>
                  </a:cubicBezTo>
                  <a:cubicBezTo>
                    <a:pt x="65" y="110"/>
                    <a:pt x="65" y="110"/>
                    <a:pt x="65" y="110"/>
                  </a:cubicBezTo>
                  <a:close/>
                  <a:moveTo>
                    <a:pt x="414" y="3"/>
                  </a:moveTo>
                  <a:cubicBezTo>
                    <a:pt x="418" y="84"/>
                    <a:pt x="418" y="84"/>
                    <a:pt x="418" y="84"/>
                  </a:cubicBezTo>
                  <a:cubicBezTo>
                    <a:pt x="413" y="84"/>
                    <a:pt x="413" y="84"/>
                    <a:pt x="413" y="84"/>
                  </a:cubicBezTo>
                  <a:cubicBezTo>
                    <a:pt x="412" y="74"/>
                    <a:pt x="409" y="65"/>
                    <a:pt x="406" y="58"/>
                  </a:cubicBezTo>
                  <a:cubicBezTo>
                    <a:pt x="402" y="51"/>
                    <a:pt x="398" y="45"/>
                    <a:pt x="393" y="40"/>
                  </a:cubicBezTo>
                  <a:cubicBezTo>
                    <a:pt x="390" y="37"/>
                    <a:pt x="388" y="35"/>
                    <a:pt x="387" y="34"/>
                  </a:cubicBezTo>
                  <a:cubicBezTo>
                    <a:pt x="384" y="31"/>
                    <a:pt x="381" y="29"/>
                    <a:pt x="377" y="27"/>
                  </a:cubicBezTo>
                  <a:cubicBezTo>
                    <a:pt x="371" y="23"/>
                    <a:pt x="365" y="20"/>
                    <a:pt x="359" y="18"/>
                  </a:cubicBezTo>
                  <a:cubicBezTo>
                    <a:pt x="351" y="16"/>
                    <a:pt x="344" y="14"/>
                    <a:pt x="336" y="14"/>
                  </a:cubicBezTo>
                  <a:cubicBezTo>
                    <a:pt x="332" y="14"/>
                    <a:pt x="327" y="15"/>
                    <a:pt x="323" y="15"/>
                  </a:cubicBezTo>
                  <a:cubicBezTo>
                    <a:pt x="307" y="18"/>
                    <a:pt x="294" y="25"/>
                    <a:pt x="283" y="35"/>
                  </a:cubicBezTo>
                  <a:cubicBezTo>
                    <a:pt x="274" y="43"/>
                    <a:pt x="268" y="53"/>
                    <a:pt x="262" y="66"/>
                  </a:cubicBezTo>
                  <a:cubicBezTo>
                    <a:pt x="259" y="73"/>
                    <a:pt x="257" y="82"/>
                    <a:pt x="255" y="92"/>
                  </a:cubicBezTo>
                  <a:cubicBezTo>
                    <a:pt x="253" y="102"/>
                    <a:pt x="252" y="112"/>
                    <a:pt x="252" y="122"/>
                  </a:cubicBezTo>
                  <a:cubicBezTo>
                    <a:pt x="252" y="131"/>
                    <a:pt x="253" y="141"/>
                    <a:pt x="255" y="150"/>
                  </a:cubicBezTo>
                  <a:cubicBezTo>
                    <a:pt x="256" y="159"/>
                    <a:pt x="259" y="168"/>
                    <a:pt x="263" y="176"/>
                  </a:cubicBezTo>
                  <a:cubicBezTo>
                    <a:pt x="270" y="190"/>
                    <a:pt x="280" y="202"/>
                    <a:pt x="293" y="210"/>
                  </a:cubicBezTo>
                  <a:cubicBezTo>
                    <a:pt x="304" y="217"/>
                    <a:pt x="316" y="221"/>
                    <a:pt x="329" y="223"/>
                  </a:cubicBezTo>
                  <a:cubicBezTo>
                    <a:pt x="332" y="224"/>
                    <a:pt x="337" y="224"/>
                    <a:pt x="341" y="224"/>
                  </a:cubicBezTo>
                  <a:cubicBezTo>
                    <a:pt x="354" y="224"/>
                    <a:pt x="367" y="222"/>
                    <a:pt x="379" y="216"/>
                  </a:cubicBezTo>
                  <a:cubicBezTo>
                    <a:pt x="395" y="209"/>
                    <a:pt x="409" y="198"/>
                    <a:pt x="420" y="183"/>
                  </a:cubicBezTo>
                  <a:cubicBezTo>
                    <a:pt x="425" y="186"/>
                    <a:pt x="425" y="186"/>
                    <a:pt x="425" y="186"/>
                  </a:cubicBezTo>
                  <a:cubicBezTo>
                    <a:pt x="413" y="204"/>
                    <a:pt x="398" y="218"/>
                    <a:pt x="383" y="227"/>
                  </a:cubicBezTo>
                  <a:cubicBezTo>
                    <a:pt x="366" y="237"/>
                    <a:pt x="349" y="242"/>
                    <a:pt x="331" y="242"/>
                  </a:cubicBezTo>
                  <a:cubicBezTo>
                    <a:pt x="316" y="242"/>
                    <a:pt x="302" y="240"/>
                    <a:pt x="289" y="235"/>
                  </a:cubicBezTo>
                  <a:cubicBezTo>
                    <a:pt x="278" y="231"/>
                    <a:pt x="268" y="225"/>
                    <a:pt x="258" y="218"/>
                  </a:cubicBezTo>
                  <a:cubicBezTo>
                    <a:pt x="251" y="213"/>
                    <a:pt x="245" y="207"/>
                    <a:pt x="239" y="200"/>
                  </a:cubicBezTo>
                  <a:cubicBezTo>
                    <a:pt x="232" y="192"/>
                    <a:pt x="226" y="180"/>
                    <a:pt x="221" y="166"/>
                  </a:cubicBezTo>
                  <a:cubicBezTo>
                    <a:pt x="216" y="152"/>
                    <a:pt x="214" y="139"/>
                    <a:pt x="214" y="125"/>
                  </a:cubicBezTo>
                  <a:cubicBezTo>
                    <a:pt x="214" y="113"/>
                    <a:pt x="215" y="100"/>
                    <a:pt x="217" y="88"/>
                  </a:cubicBezTo>
                  <a:cubicBezTo>
                    <a:pt x="220" y="76"/>
                    <a:pt x="223" y="66"/>
                    <a:pt x="228" y="58"/>
                  </a:cubicBezTo>
                  <a:cubicBezTo>
                    <a:pt x="236" y="43"/>
                    <a:pt x="247" y="31"/>
                    <a:pt x="261" y="21"/>
                  </a:cubicBezTo>
                  <a:cubicBezTo>
                    <a:pt x="278" y="9"/>
                    <a:pt x="296" y="2"/>
                    <a:pt x="315" y="0"/>
                  </a:cubicBezTo>
                  <a:cubicBezTo>
                    <a:pt x="316" y="0"/>
                    <a:pt x="318" y="0"/>
                    <a:pt x="321" y="0"/>
                  </a:cubicBezTo>
                  <a:cubicBezTo>
                    <a:pt x="324" y="0"/>
                    <a:pt x="327" y="0"/>
                    <a:pt x="331" y="0"/>
                  </a:cubicBezTo>
                  <a:cubicBezTo>
                    <a:pt x="341" y="0"/>
                    <a:pt x="351" y="1"/>
                    <a:pt x="360" y="3"/>
                  </a:cubicBezTo>
                  <a:cubicBezTo>
                    <a:pt x="368" y="6"/>
                    <a:pt x="376" y="9"/>
                    <a:pt x="383" y="13"/>
                  </a:cubicBezTo>
                  <a:cubicBezTo>
                    <a:pt x="389" y="16"/>
                    <a:pt x="393" y="18"/>
                    <a:pt x="397" y="18"/>
                  </a:cubicBezTo>
                  <a:cubicBezTo>
                    <a:pt x="398" y="18"/>
                    <a:pt x="400" y="17"/>
                    <a:pt x="402" y="17"/>
                  </a:cubicBezTo>
                  <a:cubicBezTo>
                    <a:pt x="404" y="16"/>
                    <a:pt x="406" y="14"/>
                    <a:pt x="408" y="12"/>
                  </a:cubicBezTo>
                  <a:cubicBezTo>
                    <a:pt x="409" y="9"/>
                    <a:pt x="410" y="6"/>
                    <a:pt x="410" y="3"/>
                  </a:cubicBezTo>
                  <a:cubicBezTo>
                    <a:pt x="414" y="3"/>
                    <a:pt x="414" y="3"/>
                    <a:pt x="414" y="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59" name="Rectangle 48"/>
            <p:cNvSpPr>
              <a:spLocks noChangeArrowheads="1"/>
            </p:cNvSpPr>
            <p:nvPr userDrawn="1"/>
          </p:nvSpPr>
          <p:spPr bwMode="auto">
            <a:xfrm>
              <a:off x="5678" y="3931"/>
              <a:ext cx="193" cy="19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4" tIns="45718" rIns="91434" bIns="45718"/>
            <a:lstStyle/>
            <a:p>
              <a:pPr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5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0" name="Rectangle 49"/>
            <p:cNvSpPr>
              <a:spLocks noChangeArrowheads="1"/>
            </p:cNvSpPr>
            <p:nvPr userDrawn="1"/>
          </p:nvSpPr>
          <p:spPr bwMode="auto">
            <a:xfrm>
              <a:off x="5678" y="3931"/>
              <a:ext cx="193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4" tIns="45718" rIns="91434" bIns="45718"/>
            <a:lstStyle/>
            <a:p>
              <a:pPr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5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1" name="Freeform 50"/>
            <p:cNvSpPr>
              <a:spLocks noEditPoints="1"/>
            </p:cNvSpPr>
            <p:nvPr userDrawn="1"/>
          </p:nvSpPr>
          <p:spPr bwMode="auto">
            <a:xfrm>
              <a:off x="5581" y="3931"/>
              <a:ext cx="387" cy="194"/>
            </a:xfrm>
            <a:custGeom>
              <a:avLst/>
              <a:gdLst>
                <a:gd name="T0" fmla="*/ 96 w 387"/>
                <a:gd name="T1" fmla="*/ 0 h 194"/>
                <a:gd name="T2" fmla="*/ 96 w 387"/>
                <a:gd name="T3" fmla="*/ 194 h 194"/>
                <a:gd name="T4" fmla="*/ 0 w 387"/>
                <a:gd name="T5" fmla="*/ 97 h 194"/>
                <a:gd name="T6" fmla="*/ 96 w 387"/>
                <a:gd name="T7" fmla="*/ 0 h 194"/>
                <a:gd name="T8" fmla="*/ 96 w 387"/>
                <a:gd name="T9" fmla="*/ 0 h 194"/>
                <a:gd name="T10" fmla="*/ 193 w 387"/>
                <a:gd name="T11" fmla="*/ 97 h 194"/>
                <a:gd name="T12" fmla="*/ 290 w 387"/>
                <a:gd name="T13" fmla="*/ 194 h 194"/>
                <a:gd name="T14" fmla="*/ 97 w 387"/>
                <a:gd name="T15" fmla="*/ 194 h 194"/>
                <a:gd name="T16" fmla="*/ 193 w 387"/>
                <a:gd name="T17" fmla="*/ 97 h 194"/>
                <a:gd name="T18" fmla="*/ 193 w 387"/>
                <a:gd name="T19" fmla="*/ 97 h 194"/>
                <a:gd name="T20" fmla="*/ 97 w 387"/>
                <a:gd name="T21" fmla="*/ 0 h 194"/>
                <a:gd name="T22" fmla="*/ 290 w 387"/>
                <a:gd name="T23" fmla="*/ 0 h 194"/>
                <a:gd name="T24" fmla="*/ 193 w 387"/>
                <a:gd name="T25" fmla="*/ 97 h 194"/>
                <a:gd name="T26" fmla="*/ 97 w 387"/>
                <a:gd name="T27" fmla="*/ 0 h 194"/>
                <a:gd name="T28" fmla="*/ 97 w 387"/>
                <a:gd name="T29" fmla="*/ 0 h 194"/>
                <a:gd name="T30" fmla="*/ 387 w 387"/>
                <a:gd name="T31" fmla="*/ 97 h 194"/>
                <a:gd name="T32" fmla="*/ 290 w 387"/>
                <a:gd name="T33" fmla="*/ 194 h 194"/>
                <a:gd name="T34" fmla="*/ 290 w 387"/>
                <a:gd name="T35" fmla="*/ 0 h 194"/>
                <a:gd name="T36" fmla="*/ 387 w 387"/>
                <a:gd name="T37" fmla="*/ 97 h 19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87" h="194">
                  <a:moveTo>
                    <a:pt x="96" y="0"/>
                  </a:moveTo>
                  <a:lnTo>
                    <a:pt x="96" y="194"/>
                  </a:lnTo>
                  <a:lnTo>
                    <a:pt x="0" y="97"/>
                  </a:lnTo>
                  <a:lnTo>
                    <a:pt x="96" y="0"/>
                  </a:lnTo>
                  <a:close/>
                  <a:moveTo>
                    <a:pt x="193" y="97"/>
                  </a:moveTo>
                  <a:lnTo>
                    <a:pt x="290" y="194"/>
                  </a:lnTo>
                  <a:lnTo>
                    <a:pt x="97" y="194"/>
                  </a:lnTo>
                  <a:lnTo>
                    <a:pt x="193" y="97"/>
                  </a:lnTo>
                  <a:close/>
                  <a:moveTo>
                    <a:pt x="97" y="0"/>
                  </a:moveTo>
                  <a:lnTo>
                    <a:pt x="290" y="0"/>
                  </a:lnTo>
                  <a:lnTo>
                    <a:pt x="193" y="97"/>
                  </a:lnTo>
                  <a:lnTo>
                    <a:pt x="97" y="0"/>
                  </a:lnTo>
                  <a:close/>
                  <a:moveTo>
                    <a:pt x="387" y="97"/>
                  </a:moveTo>
                  <a:lnTo>
                    <a:pt x="290" y="194"/>
                  </a:lnTo>
                  <a:lnTo>
                    <a:pt x="290" y="0"/>
                  </a:lnTo>
                  <a:lnTo>
                    <a:pt x="387" y="97"/>
                  </a:lnTo>
                  <a:close/>
                </a:path>
              </a:pathLst>
            </a:custGeom>
            <a:solidFill>
              <a:srgbClr val="FB0F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62" name="Freeform 51"/>
            <p:cNvSpPr>
              <a:spLocks noEditPoints="1"/>
            </p:cNvSpPr>
            <p:nvPr userDrawn="1"/>
          </p:nvSpPr>
          <p:spPr bwMode="auto">
            <a:xfrm>
              <a:off x="5581" y="3931"/>
              <a:ext cx="387" cy="194"/>
            </a:xfrm>
            <a:custGeom>
              <a:avLst/>
              <a:gdLst>
                <a:gd name="T0" fmla="*/ 96 w 387"/>
                <a:gd name="T1" fmla="*/ 0 h 194"/>
                <a:gd name="T2" fmla="*/ 96 w 387"/>
                <a:gd name="T3" fmla="*/ 194 h 194"/>
                <a:gd name="T4" fmla="*/ 0 w 387"/>
                <a:gd name="T5" fmla="*/ 97 h 194"/>
                <a:gd name="T6" fmla="*/ 96 w 387"/>
                <a:gd name="T7" fmla="*/ 0 h 194"/>
                <a:gd name="T8" fmla="*/ 96 w 387"/>
                <a:gd name="T9" fmla="*/ 0 h 194"/>
                <a:gd name="T10" fmla="*/ 193 w 387"/>
                <a:gd name="T11" fmla="*/ 97 h 194"/>
                <a:gd name="T12" fmla="*/ 290 w 387"/>
                <a:gd name="T13" fmla="*/ 194 h 194"/>
                <a:gd name="T14" fmla="*/ 97 w 387"/>
                <a:gd name="T15" fmla="*/ 194 h 194"/>
                <a:gd name="T16" fmla="*/ 193 w 387"/>
                <a:gd name="T17" fmla="*/ 97 h 194"/>
                <a:gd name="T18" fmla="*/ 193 w 387"/>
                <a:gd name="T19" fmla="*/ 97 h 194"/>
                <a:gd name="T20" fmla="*/ 97 w 387"/>
                <a:gd name="T21" fmla="*/ 0 h 194"/>
                <a:gd name="T22" fmla="*/ 290 w 387"/>
                <a:gd name="T23" fmla="*/ 0 h 194"/>
                <a:gd name="T24" fmla="*/ 193 w 387"/>
                <a:gd name="T25" fmla="*/ 97 h 194"/>
                <a:gd name="T26" fmla="*/ 97 w 387"/>
                <a:gd name="T27" fmla="*/ 0 h 194"/>
                <a:gd name="T28" fmla="*/ 97 w 387"/>
                <a:gd name="T29" fmla="*/ 0 h 194"/>
                <a:gd name="T30" fmla="*/ 387 w 387"/>
                <a:gd name="T31" fmla="*/ 97 h 194"/>
                <a:gd name="T32" fmla="*/ 290 w 387"/>
                <a:gd name="T33" fmla="*/ 194 h 194"/>
                <a:gd name="T34" fmla="*/ 290 w 387"/>
                <a:gd name="T35" fmla="*/ 0 h 194"/>
                <a:gd name="T36" fmla="*/ 387 w 387"/>
                <a:gd name="T37" fmla="*/ 97 h 19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87" h="194">
                  <a:moveTo>
                    <a:pt x="96" y="0"/>
                  </a:moveTo>
                  <a:lnTo>
                    <a:pt x="96" y="194"/>
                  </a:lnTo>
                  <a:lnTo>
                    <a:pt x="0" y="97"/>
                  </a:lnTo>
                  <a:lnTo>
                    <a:pt x="96" y="0"/>
                  </a:lnTo>
                  <a:moveTo>
                    <a:pt x="193" y="97"/>
                  </a:moveTo>
                  <a:lnTo>
                    <a:pt x="290" y="194"/>
                  </a:lnTo>
                  <a:lnTo>
                    <a:pt x="97" y="194"/>
                  </a:lnTo>
                  <a:lnTo>
                    <a:pt x="193" y="97"/>
                  </a:lnTo>
                  <a:moveTo>
                    <a:pt x="97" y="0"/>
                  </a:moveTo>
                  <a:lnTo>
                    <a:pt x="290" y="0"/>
                  </a:lnTo>
                  <a:lnTo>
                    <a:pt x="193" y="97"/>
                  </a:lnTo>
                  <a:lnTo>
                    <a:pt x="97" y="0"/>
                  </a:lnTo>
                  <a:moveTo>
                    <a:pt x="387" y="97"/>
                  </a:moveTo>
                  <a:lnTo>
                    <a:pt x="290" y="194"/>
                  </a:lnTo>
                  <a:lnTo>
                    <a:pt x="290" y="0"/>
                  </a:lnTo>
                  <a:lnTo>
                    <a:pt x="387" y="9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buClr>
                  <a:srgbClr val="FF0000"/>
                </a:buClr>
                <a:buFont typeface="Times New Roman" pitchFamily="18" charset="0"/>
                <a:buChar char="•"/>
              </a:pPr>
              <a:endPara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54" name="Rectangle 52"/>
          <p:cNvSpPr>
            <a:spLocks noChangeArrowheads="1"/>
          </p:cNvSpPr>
          <p:nvPr/>
        </p:nvSpPr>
        <p:spPr bwMode="auto">
          <a:xfrm>
            <a:off x="9495061" y="6539071"/>
            <a:ext cx="14106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58838"/>
            <a:fld id="{A32B21AC-F776-4F1B-85DF-01D49FF83BA7}" type="slidenum">
              <a:rPr lang="en-GB" sz="900" b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algn="r" defTabSz="858838"/>
              <a:t>‹#›</a:t>
            </a:fld>
            <a:endParaRPr lang="en-GB" sz="9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31340" name="Text Box 140"/>
          <p:cNvSpPr txBox="1">
            <a:spLocks noChangeArrowheads="1"/>
          </p:cNvSpPr>
          <p:nvPr/>
        </p:nvSpPr>
        <p:spPr bwMode="auto">
          <a:xfrm>
            <a:off x="273050" y="6524625"/>
            <a:ext cx="2136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ctr" defTabSz="858838"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85883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•"/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85883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•"/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85883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•"/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85883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•"/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>
              <a:defRPr/>
            </a:pPr>
            <a:endParaRPr lang="en-US" sz="1000" dirty="0" smtClean="0">
              <a:solidFill>
                <a:srgbClr val="9999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384550" y="6356508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buClr>
                <a:srgbClr val="FF0000"/>
              </a:buClr>
              <a:buFont typeface="Times New Roman" pitchFamily="18" charset="0"/>
              <a:buChar char="•"/>
            </a:pPr>
            <a:endParaRPr lang="en-US" b="0" dirty="0">
              <a:solidFill>
                <a:srgbClr val="000000">
                  <a:tint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465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+mj-ea"/>
          <a:cs typeface="+mj-cs"/>
        </a:defRPr>
      </a:lvl1pPr>
      <a:lvl2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2pPr>
      <a:lvl3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3pPr>
      <a:lvl4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4pPr>
      <a:lvl5pPr algn="l" defTabSz="11096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5pPr>
      <a:lvl6pPr marL="457200" algn="l" defTabSz="1109663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cs typeface="Arial" charset="0"/>
        </a:defRPr>
      </a:lvl6pPr>
      <a:lvl7pPr marL="914400" algn="l" defTabSz="1109663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cs typeface="Arial" charset="0"/>
        </a:defRPr>
      </a:lvl7pPr>
      <a:lvl8pPr marL="1371600" algn="l" defTabSz="1109663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cs typeface="Arial" charset="0"/>
        </a:defRPr>
      </a:lvl8pPr>
      <a:lvl9pPr marL="1828800" algn="l" defTabSz="1109663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28600" indent="-228600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455613" indent="-225425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Calibri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2pPr>
      <a:lvl3pPr marL="684213" indent="-227013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Calibri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3pPr>
      <a:lvl4pPr marL="1355725" indent="-212725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1000">
          <a:solidFill>
            <a:schemeClr val="tx1"/>
          </a:solidFill>
          <a:latin typeface="Calibri" pitchFamily="34" charset="0"/>
          <a:cs typeface="+mn-cs"/>
        </a:defRPr>
      </a:lvl4pPr>
      <a:lvl5pPr marL="1682750" indent="-212725" algn="l" defTabSz="1109663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5pPr>
      <a:lvl6pPr marL="2139950" indent="-212725" algn="l" defTabSz="1109663" rtl="0" fontAlgn="base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6pPr>
      <a:lvl7pPr marL="2597150" indent="-212725" algn="l" defTabSz="1109663" rtl="0" fontAlgn="base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7pPr>
      <a:lvl8pPr marL="3054350" indent="-212725" algn="l" defTabSz="1109663" rtl="0" fontAlgn="base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8pPr>
      <a:lvl9pPr marL="3511550" indent="-212725" algn="l" defTabSz="1109663" rtl="0" fontAlgn="base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50542" y="294432"/>
            <a:ext cx="8804996" cy="681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170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85"/>
          <p:cNvSpPr>
            <a:spLocks noChangeArrowheads="1"/>
          </p:cNvSpPr>
          <p:nvPr/>
        </p:nvSpPr>
        <p:spPr bwMode="auto">
          <a:xfrm>
            <a:off x="206367" y="294392"/>
            <a:ext cx="138005" cy="545216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</p:spPr>
        <p:txBody>
          <a:bodyPr wrap="none" lIns="90947" tIns="45475" rIns="90947" bIns="45475" anchor="ctr"/>
          <a:lstStyle/>
          <a:p>
            <a:pPr defTabSz="853456">
              <a:spcBef>
                <a:spcPct val="50000"/>
              </a:spcBef>
            </a:pPr>
            <a:endParaRPr lang="en-US" sz="700" b="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2" name="Rectangle 396"/>
          <p:cNvSpPr>
            <a:spLocks noChangeArrowheads="1"/>
          </p:cNvSpPr>
          <p:nvPr/>
        </p:nvSpPr>
        <p:spPr bwMode="auto">
          <a:xfrm>
            <a:off x="9581449" y="6604191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853456"/>
            <a:fld id="{3BC16D8B-A6D6-44E8-88CF-3F4CC69EA2FC}" type="slidenum">
              <a:rPr lang="en-GB" sz="900" b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defTabSz="853456"/>
              <a:t>‹#›</a:t>
            </a:fld>
            <a:endParaRPr lang="en-GB" sz="9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75272" y="6542386"/>
            <a:ext cx="174942" cy="256719"/>
          </a:xfrm>
          <a:prstGeom prst="rect">
            <a:avLst/>
          </a:prstGeom>
          <a:noFill/>
        </p:spPr>
        <p:txBody>
          <a:bodyPr wrap="none" lIns="86593" tIns="43298" rIns="86593" bIns="43298" rtlCol="0">
            <a:spAutoFit/>
          </a:bodyPr>
          <a:lstStyle/>
          <a:p>
            <a:pPr algn="l" eaLnBrk="1" hangingPunct="1"/>
            <a:endParaRPr lang="en-GB" b="0" dirty="0" smtClean="0">
              <a:solidFill>
                <a:srgbClr val="FFFFFF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384905" y="6356522"/>
            <a:ext cx="3136192" cy="364979"/>
          </a:xfrm>
          <a:prstGeom prst="rect">
            <a:avLst/>
          </a:prstGeom>
        </p:spPr>
        <p:txBody>
          <a:bodyPr vert="horz" lIns="86593" tIns="43298" rIns="86593" bIns="43298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/>
            <a:endParaRPr lang="en-GB" dirty="0">
              <a:solidFill>
                <a:srgbClr val="000000">
                  <a:tint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18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287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110287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2pPr>
      <a:lvl3pPr algn="l" defTabSz="110287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3pPr>
      <a:lvl4pPr algn="l" defTabSz="110287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4pPr>
      <a:lvl5pPr algn="l" defTabSz="110287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Arial" charset="0"/>
          <a:cs typeface="Arial" charset="0"/>
        </a:defRPr>
      </a:lvl5pPr>
      <a:lvl6pPr marL="432736" algn="l" defTabSz="1050294" rtl="0" fontAlgn="base">
        <a:spcBef>
          <a:spcPct val="0"/>
        </a:spcBef>
        <a:spcAft>
          <a:spcPct val="0"/>
        </a:spcAft>
        <a:defRPr sz="2300">
          <a:solidFill>
            <a:schemeClr val="accent1"/>
          </a:solidFill>
          <a:latin typeface="Arial" charset="0"/>
          <a:cs typeface="Arial" charset="0"/>
        </a:defRPr>
      </a:lvl6pPr>
      <a:lvl7pPr marL="865477" algn="l" defTabSz="1050294" rtl="0" fontAlgn="base">
        <a:spcBef>
          <a:spcPct val="0"/>
        </a:spcBef>
        <a:spcAft>
          <a:spcPct val="0"/>
        </a:spcAft>
        <a:defRPr sz="2300">
          <a:solidFill>
            <a:schemeClr val="accent1"/>
          </a:solidFill>
          <a:latin typeface="Arial" charset="0"/>
          <a:cs typeface="Arial" charset="0"/>
        </a:defRPr>
      </a:lvl7pPr>
      <a:lvl8pPr marL="1298214" algn="l" defTabSz="1050294" rtl="0" fontAlgn="base">
        <a:spcBef>
          <a:spcPct val="0"/>
        </a:spcBef>
        <a:spcAft>
          <a:spcPct val="0"/>
        </a:spcAft>
        <a:defRPr sz="2300">
          <a:solidFill>
            <a:schemeClr val="accent1"/>
          </a:solidFill>
          <a:latin typeface="Arial" charset="0"/>
          <a:cs typeface="Arial" charset="0"/>
        </a:defRPr>
      </a:lvl8pPr>
      <a:lvl9pPr marL="1730953" algn="l" defTabSz="1050294" rtl="0" fontAlgn="base">
        <a:spcBef>
          <a:spcPct val="0"/>
        </a:spcBef>
        <a:spcAft>
          <a:spcPct val="0"/>
        </a:spcAft>
        <a:defRPr sz="23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71289" indent="-171289" algn="l" defTabSz="853456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33567" indent="-160776" algn="l" defTabSz="853456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300">
          <a:solidFill>
            <a:schemeClr val="tx1"/>
          </a:solidFill>
          <a:latin typeface="+mn-lt"/>
          <a:cs typeface="+mn-cs"/>
        </a:defRPr>
      </a:lvl2pPr>
      <a:lvl3pPr marL="513882" indent="-178805" algn="l" defTabSz="853456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100">
          <a:solidFill>
            <a:schemeClr val="tx1"/>
          </a:solidFill>
          <a:latin typeface="+mn-lt"/>
          <a:cs typeface="+mn-cs"/>
        </a:defRPr>
      </a:lvl3pPr>
      <a:lvl4pPr marL="676153" indent="-160776" algn="l" defTabSz="853456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000">
          <a:solidFill>
            <a:schemeClr val="tx1"/>
          </a:solidFill>
          <a:latin typeface="+mn-lt"/>
          <a:cs typeface="+mn-cs"/>
        </a:defRPr>
      </a:lvl4pPr>
      <a:lvl5pPr marL="1824112" indent="-211861" algn="l" defTabSz="1102879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900">
          <a:solidFill>
            <a:schemeClr val="tx1"/>
          </a:solidFill>
          <a:latin typeface="+mn-lt"/>
          <a:cs typeface="+mn-cs"/>
        </a:defRPr>
      </a:lvl5pPr>
      <a:lvl6pPr marL="1461994" indent="-201347" algn="l" defTabSz="1050294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6pPr>
      <a:lvl7pPr marL="1894731" indent="-201347" algn="l" defTabSz="1050294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7pPr>
      <a:lvl8pPr marL="2327468" indent="-201347" algn="l" defTabSz="1050294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8pPr>
      <a:lvl9pPr marL="2760206" indent="-201347" algn="l" defTabSz="1050294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54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2736" algn="l" defTabSz="8654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5477" algn="l" defTabSz="8654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8214" algn="l" defTabSz="8654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30953" algn="l" defTabSz="8654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63691" algn="l" defTabSz="8654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6426" algn="l" defTabSz="8654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9166" algn="l" defTabSz="8654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61901" algn="l" defTabSz="8654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7"/>
          <p:cNvSpPr>
            <a:spLocks noChangeArrowheads="1"/>
          </p:cNvSpPr>
          <p:nvPr/>
        </p:nvSpPr>
        <p:spPr bwMode="auto">
          <a:xfrm>
            <a:off x="206330" y="500165"/>
            <a:ext cx="138005" cy="54521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08" tIns="45706" rIns="91408" bIns="45706" anchor="ctr"/>
          <a:lstStyle>
            <a:lvl1pPr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ct val="20000"/>
              </a:spcAft>
            </a:pPr>
            <a:endParaRPr lang="en-US" altLang="en-US" sz="700" b="0" i="1" dirty="0" smtClean="0">
              <a:solidFill>
                <a:srgbClr val="000000"/>
              </a:solidFill>
            </a:endParaRPr>
          </a:p>
        </p:txBody>
      </p:sp>
      <p:sp>
        <p:nvSpPr>
          <p:cNvPr id="1027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0503" y="1249647"/>
            <a:ext cx="8804996" cy="497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0548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Click to edit Master text styles</a:t>
            </a:r>
          </a:p>
          <a:p>
            <a:pPr lvl="2"/>
            <a:r>
              <a:rPr lang="en-GB" altLang="en-US" smtClean="0"/>
              <a:t>Click to edit Master text styles</a:t>
            </a:r>
          </a:p>
        </p:txBody>
      </p:sp>
      <p:sp>
        <p:nvSpPr>
          <p:cNvPr id="1028" name="Rectangle 396"/>
          <p:cNvSpPr>
            <a:spLocks noChangeArrowheads="1"/>
          </p:cNvSpPr>
          <p:nvPr/>
        </p:nvSpPr>
        <p:spPr bwMode="auto">
          <a:xfrm>
            <a:off x="9575790" y="6542244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01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ct val="20000"/>
              </a:spcAft>
            </a:pPr>
            <a:fld id="{B074BC71-D3CB-413B-AA0B-6F092724DBD1}" type="slidenum">
              <a:rPr lang="en-GB" altLang="en-US" sz="1000" b="0" smtClean="0">
                <a:solidFill>
                  <a:srgbClr val="000000"/>
                </a:solidFill>
              </a:rPr>
              <a:pPr>
                <a:spcAft>
                  <a:spcPct val="20000"/>
                </a:spcAft>
              </a:pPr>
              <a:t>‹#›</a:t>
            </a:fld>
            <a:endParaRPr lang="en-GB" altLang="en-US" sz="1000" b="0" dirty="0" smtClean="0">
              <a:solidFill>
                <a:srgbClr val="000000"/>
              </a:solidFill>
            </a:endParaRPr>
          </a:p>
        </p:txBody>
      </p:sp>
      <p:grpSp>
        <p:nvGrpSpPr>
          <p:cNvPr id="1029" name="Group 20"/>
          <p:cNvGrpSpPr>
            <a:grpSpLocks/>
          </p:cNvGrpSpPr>
          <p:nvPr/>
        </p:nvGrpSpPr>
        <p:grpSpPr bwMode="auto">
          <a:xfrm>
            <a:off x="550503" y="1317229"/>
            <a:ext cx="8804996" cy="4905438"/>
            <a:chOff x="363" y="877"/>
            <a:chExt cx="5806" cy="3266"/>
          </a:xfrm>
        </p:grpSpPr>
        <p:sp>
          <p:nvSpPr>
            <p:cNvPr id="1032" name="Rectangle 21"/>
            <p:cNvSpPr>
              <a:spLocks noChangeArrowheads="1"/>
            </p:cNvSpPr>
            <p:nvPr userDrawn="1"/>
          </p:nvSpPr>
          <p:spPr bwMode="auto">
            <a:xfrm>
              <a:off x="363" y="877"/>
              <a:ext cx="2858" cy="1587"/>
            </a:xfrm>
            <a:prstGeom prst="rect">
              <a:avLst/>
            </a:prstGeom>
            <a:noFill/>
            <a:ln w="6350" algn="ctr">
              <a:solidFill>
                <a:schemeClr val="bg1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31" tIns="44115" rIns="88231" bIns="44115" anchor="ctr"/>
            <a:lstStyle>
              <a:lvl1pPr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spcAft>
                  <a:spcPct val="20000"/>
                </a:spcAft>
              </a:pPr>
              <a:endParaRPr lang="en-US" altLang="en-US" sz="700" b="0" i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3" name="Rectangle 22"/>
            <p:cNvSpPr>
              <a:spLocks noChangeArrowheads="1"/>
            </p:cNvSpPr>
            <p:nvPr userDrawn="1"/>
          </p:nvSpPr>
          <p:spPr bwMode="auto">
            <a:xfrm>
              <a:off x="363" y="2555"/>
              <a:ext cx="2859" cy="1588"/>
            </a:xfrm>
            <a:prstGeom prst="rect">
              <a:avLst/>
            </a:prstGeom>
            <a:noFill/>
            <a:ln w="6350" algn="ctr">
              <a:solidFill>
                <a:schemeClr val="bg1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21" tIns="45711" rIns="91421" bIns="45711" anchor="ctr"/>
            <a:lstStyle>
              <a:lvl1pPr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spcAft>
                  <a:spcPct val="20000"/>
                </a:spcAft>
              </a:pPr>
              <a:endParaRPr lang="en-US" altLang="en-US" sz="700" b="0" i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4" name="Rectangle 23"/>
            <p:cNvSpPr>
              <a:spLocks noChangeArrowheads="1"/>
            </p:cNvSpPr>
            <p:nvPr userDrawn="1"/>
          </p:nvSpPr>
          <p:spPr bwMode="auto">
            <a:xfrm>
              <a:off x="3311" y="877"/>
              <a:ext cx="2858" cy="1587"/>
            </a:xfrm>
            <a:prstGeom prst="rect">
              <a:avLst/>
            </a:prstGeom>
            <a:noFill/>
            <a:ln w="6350" algn="ctr">
              <a:solidFill>
                <a:schemeClr val="bg1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31" tIns="44115" rIns="88231" bIns="44115" anchor="ctr"/>
            <a:lstStyle>
              <a:lvl1pPr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>
                <a:spcAft>
                  <a:spcPct val="20000"/>
                </a:spcAft>
              </a:pPr>
              <a:endParaRPr lang="en-US" altLang="en-US" sz="700" b="0" i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Rectangle 24"/>
            <p:cNvSpPr>
              <a:spLocks noChangeArrowheads="1"/>
            </p:cNvSpPr>
            <p:nvPr userDrawn="1"/>
          </p:nvSpPr>
          <p:spPr bwMode="auto">
            <a:xfrm>
              <a:off x="3310" y="2555"/>
              <a:ext cx="2859" cy="1588"/>
            </a:xfrm>
            <a:prstGeom prst="rect">
              <a:avLst/>
            </a:prstGeom>
            <a:noFill/>
            <a:ln w="6350" algn="ctr">
              <a:solidFill>
                <a:schemeClr val="bg1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21" tIns="45711" rIns="91421" bIns="45711" anchor="ctr"/>
            <a:lstStyle>
              <a:lvl1pPr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00113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spcAft>
                  <a:spcPct val="20000"/>
                </a:spcAft>
              </a:pPr>
              <a:endParaRPr lang="en-US" altLang="en-US" sz="700" b="0" i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0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50503" y="455110"/>
            <a:ext cx="8804996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71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219306" y="6356492"/>
            <a:ext cx="3136192" cy="364979"/>
          </a:xfrm>
          <a:prstGeom prst="rect">
            <a:avLst/>
          </a:prstGeom>
        </p:spPr>
        <p:txBody>
          <a:bodyPr vert="horz" wrap="square" lIns="87005" tIns="43503" rIns="87005" bIns="43503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5000"/>
              </a:lnSpc>
              <a:buClr>
                <a:schemeClr val="accent1"/>
              </a:buClr>
              <a:buFont typeface="Wingdings" pitchFamily="2" charset="2"/>
              <a:buNone/>
              <a:defRPr sz="1100">
                <a:solidFill>
                  <a:srgbClr val="898989"/>
                </a:solidFill>
              </a:defRPr>
            </a:lvl1pPr>
          </a:lstStyle>
          <a:p>
            <a:pPr eaLnBrk="1" hangingPunct="1">
              <a:buClr>
                <a:srgbClr val="FF0000"/>
              </a:buClr>
              <a:defRPr/>
            </a:pP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4137874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4181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397264" algn="l"/>
        </a:tabLst>
        <a:defRPr sz="2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104181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397264" algn="l"/>
        </a:tabLst>
        <a:defRPr sz="2200">
          <a:solidFill>
            <a:schemeClr val="accent1"/>
          </a:solidFill>
          <a:latin typeface="Arial" charset="0"/>
          <a:cs typeface="Arial" charset="0"/>
        </a:defRPr>
      </a:lvl2pPr>
      <a:lvl3pPr algn="l" defTabSz="1104181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397264" algn="l"/>
        </a:tabLst>
        <a:defRPr sz="2200">
          <a:solidFill>
            <a:schemeClr val="accent1"/>
          </a:solidFill>
          <a:latin typeface="Arial" charset="0"/>
          <a:cs typeface="Arial" charset="0"/>
        </a:defRPr>
      </a:lvl3pPr>
      <a:lvl4pPr algn="l" defTabSz="1104181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397264" algn="l"/>
        </a:tabLst>
        <a:defRPr sz="2200">
          <a:solidFill>
            <a:schemeClr val="accent1"/>
          </a:solidFill>
          <a:latin typeface="Arial" charset="0"/>
          <a:cs typeface="Arial" charset="0"/>
        </a:defRPr>
      </a:lvl4pPr>
      <a:lvl5pPr algn="l" defTabSz="1104181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397264" algn="l"/>
        </a:tabLst>
        <a:defRPr sz="2200">
          <a:solidFill>
            <a:schemeClr val="accent1"/>
          </a:solidFill>
          <a:latin typeface="Arial" charset="0"/>
          <a:cs typeface="Arial" charset="0"/>
        </a:defRPr>
      </a:lvl5pPr>
      <a:lvl6pPr marL="435026" algn="l" defTabSz="1104181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97264" algn="l"/>
        </a:tabLst>
        <a:defRPr sz="2200">
          <a:solidFill>
            <a:schemeClr val="accent1"/>
          </a:solidFill>
          <a:latin typeface="Arial" charset="0"/>
          <a:cs typeface="Arial" charset="0"/>
        </a:defRPr>
      </a:lvl6pPr>
      <a:lvl7pPr marL="870052" algn="l" defTabSz="1104181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97264" algn="l"/>
        </a:tabLst>
        <a:defRPr sz="2200">
          <a:solidFill>
            <a:schemeClr val="accent1"/>
          </a:solidFill>
          <a:latin typeface="Arial" charset="0"/>
          <a:cs typeface="Arial" charset="0"/>
        </a:defRPr>
      </a:lvl7pPr>
      <a:lvl8pPr marL="1305077" algn="l" defTabSz="1104181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97264" algn="l"/>
        </a:tabLst>
        <a:defRPr sz="2200">
          <a:solidFill>
            <a:schemeClr val="accent1"/>
          </a:solidFill>
          <a:latin typeface="Arial" charset="0"/>
          <a:cs typeface="Arial" charset="0"/>
        </a:defRPr>
      </a:lvl8pPr>
      <a:lvl9pPr marL="1740103" algn="l" defTabSz="1104181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97264" algn="l"/>
        </a:tabLst>
        <a:defRPr sz="22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70688" indent="-170688" algn="l" defTabSz="1104181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513572" indent="-170688" algn="l" defTabSz="1104181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Calibri" pitchFamily="34" charset="0"/>
        <a:buChar char="–"/>
        <a:defRPr sz="1500">
          <a:solidFill>
            <a:schemeClr val="tx1"/>
          </a:solidFill>
          <a:latin typeface="+mn-lt"/>
          <a:cs typeface="+mn-cs"/>
        </a:defRPr>
      </a:lvl2pPr>
      <a:lvl3pPr marL="851926" indent="-166156" algn="l" defTabSz="1104181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Calibri" pitchFamily="34" charset="0"/>
        <a:buChar char="–"/>
        <a:defRPr sz="1500">
          <a:solidFill>
            <a:schemeClr val="tx1"/>
          </a:solidFill>
          <a:latin typeface="+mn-lt"/>
          <a:cs typeface="+mn-cs"/>
        </a:defRPr>
      </a:lvl3pPr>
      <a:lvl4pPr marL="1351904" indent="-211471" algn="l" defTabSz="1104181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1500">
          <a:solidFill>
            <a:schemeClr val="tx1"/>
          </a:solidFill>
          <a:latin typeface="Calibri" pitchFamily="34" charset="0"/>
          <a:cs typeface="+mn-cs"/>
        </a:defRPr>
      </a:lvl4pPr>
      <a:lvl5pPr marL="1728019" indent="-208450" algn="l" defTabSz="1104181" rtl="0" eaLnBrk="0" fontAlgn="base" hangingPunct="0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5pPr>
      <a:lvl6pPr marL="2163045" indent="-208450" algn="l" defTabSz="1104181" rtl="0" eaLnBrk="1" fontAlgn="base" hangingPunct="1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6pPr>
      <a:lvl7pPr marL="2598071" indent="-208450" algn="l" defTabSz="1104181" rtl="0" eaLnBrk="1" fontAlgn="base" hangingPunct="1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7pPr>
      <a:lvl8pPr marL="3033097" indent="-208450" algn="l" defTabSz="1104181" rtl="0" eaLnBrk="1" fontAlgn="base" hangingPunct="1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8pPr>
      <a:lvl9pPr marL="3468122" indent="-208450" algn="l" defTabSz="1104181" rtl="0" eaLnBrk="1" fontAlgn="base" hangingPunct="1">
        <a:lnSpc>
          <a:spcPct val="10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900">
          <a:solidFill>
            <a:schemeClr val="tx1"/>
          </a:solidFill>
          <a:latin typeface="Calibri" pitchFamily="34" charset="0"/>
          <a:cs typeface="+mn-cs"/>
        </a:defRPr>
      </a:lvl9pPr>
    </p:bodyStyle>
    <p:otherStyle>
      <a:defPPr>
        <a:defRPr lang="en-US"/>
      </a:defPPr>
      <a:lvl1pPr marL="0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5026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0052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5077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0103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5129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0155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45181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80206" algn="l" defTabSz="8700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74" y="778"/>
            <a:ext cx="9897007" cy="1677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001" y="730646"/>
            <a:ext cx="6552234" cy="334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1484331"/>
            <a:ext cx="8891662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396"/>
          <p:cNvSpPr>
            <a:spLocks noChangeArrowheads="1"/>
          </p:cNvSpPr>
          <p:nvPr/>
        </p:nvSpPr>
        <p:spPr bwMode="auto">
          <a:xfrm>
            <a:off x="206503" y="6659488"/>
            <a:ext cx="1570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815347"/>
            <a:fld id="{0A34F8B7-923E-4E9F-AE3F-2D64B3EAD121}" type="slidenum">
              <a:rPr lang="en-GB" sz="1000" b="0">
                <a:solidFill>
                  <a:srgbClr val="000000"/>
                </a:solidFill>
                <a:latin typeface="Arial"/>
              </a:rPr>
              <a:pPr defTabSz="815347"/>
              <a:t>‹#›</a:t>
            </a:fld>
            <a:endParaRPr lang="en-GB" sz="1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428504" y="6705384"/>
            <a:ext cx="858095" cy="152616"/>
          </a:xfrm>
          <a:prstGeom prst="rect">
            <a:avLst/>
          </a:prstGeom>
        </p:spPr>
        <p:txBody>
          <a:bodyPr lIns="0" tIns="0" rIns="0" bIns="0"/>
          <a:lstStyle/>
          <a:p>
            <a:pPr algn="l" eaLnBrk="1" hangingPunct="1"/>
            <a:endParaRPr lang="en-GB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3172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28288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8288" rtl="0" eaLnBrk="1" latinLnBrk="0" hangingPunct="1">
        <a:spcBef>
          <a:spcPts val="1089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41585" indent="-241585" algn="l" defTabSz="82828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91797" indent="-250217" algn="l" defTabSz="82828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3387" indent="-241585" algn="l" defTabSz="82828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961" indent="-241585" algn="l" defTabSz="828288" rtl="0" eaLnBrk="1" latinLnBrk="0" hangingPunct="1">
        <a:spcBef>
          <a:spcPts val="545"/>
        </a:spcBef>
        <a:buClr>
          <a:schemeClr val="tx2"/>
        </a:buClr>
        <a:buFont typeface="Arial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790" indent="-207071" algn="l" defTabSz="82828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1937" indent="-207071" algn="l" defTabSz="82828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6083" indent="-207071" algn="l" defTabSz="82828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0226" indent="-207071" algn="l" defTabSz="82828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82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144" algn="l" defTabSz="8282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8288" algn="l" defTabSz="8282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2433" algn="l" defTabSz="8282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575" algn="l" defTabSz="8282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0722" algn="l" defTabSz="8282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4864" algn="l" defTabSz="8282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99011" algn="l" defTabSz="8282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3153" algn="l" defTabSz="8282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281369" y="635650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451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network.pivotal.io/products/pcfdev" TargetMode="External"/><Relationship Id="rId2" Type="http://schemas.openxmlformats.org/officeDocument/2006/relationships/hyperlink" Target="http://run.pivotal.io/" TargetMode="External"/><Relationship Id="rId1" Type="http://schemas.openxmlformats.org/officeDocument/2006/relationships/slideLayout" Target="../slideLayouts/slideLayout144.xml"/><Relationship Id="rId4" Type="http://schemas.openxmlformats.org/officeDocument/2006/relationships/hyperlink" Target="http://12factor.net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56"/>
          <p:cNvSpPr>
            <a:spLocks noGrp="1" noChangeArrowheads="1"/>
          </p:cNvSpPr>
          <p:nvPr>
            <p:ph type="ftr" sz="quarter" idx="10"/>
          </p:nvPr>
        </p:nvSpPr>
        <p:spPr>
          <a:xfrm>
            <a:off x="467592" y="6404406"/>
            <a:ext cx="1117266" cy="160157"/>
          </a:xfrm>
          <a:noFill/>
        </p:spPr>
        <p:txBody>
          <a:bodyPr/>
          <a:lstStyle>
            <a:lvl1pPr defTabSz="853098" eaLnBrk="0" hangingPunct="0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·"/>
              <a:defRPr sz="1514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02905" indent="-270348" defTabSz="853098" eaLnBrk="0" hangingPunct="0">
              <a:spcBef>
                <a:spcPct val="20000"/>
              </a:spcBef>
              <a:buClr>
                <a:schemeClr val="tx2"/>
              </a:buClr>
              <a:buChar char="–"/>
              <a:defRPr sz="1325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81392" indent="-216278" defTabSz="853098" eaLnBrk="0" hangingPunct="0">
              <a:spcBef>
                <a:spcPct val="20000"/>
              </a:spcBef>
              <a:buClr>
                <a:schemeClr val="tx2"/>
              </a:buClr>
              <a:buChar char="–"/>
              <a:defRPr sz="1135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13949" indent="-216278" defTabSz="853098" eaLnBrk="0" hangingPunct="0">
              <a:spcBef>
                <a:spcPct val="20000"/>
              </a:spcBef>
              <a:buClr>
                <a:schemeClr val="tx2"/>
              </a:buClr>
              <a:buChar char="–"/>
              <a:defRPr sz="946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46506" indent="-216278" defTabSz="853098" eaLnBrk="0" hangingPunct="0">
              <a:spcBef>
                <a:spcPct val="20000"/>
              </a:spcBef>
              <a:buClr>
                <a:schemeClr val="tx2"/>
              </a:buClr>
              <a:buChar char="–"/>
              <a:defRPr sz="1135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79063" indent="-216278" defTabSz="85309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135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11620" indent="-216278" defTabSz="85309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135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44177" indent="-216278" defTabSz="85309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135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76734" indent="-216278" defTabSz="85309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135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GB" altLang="en-US" sz="1041" dirty="0">
                <a:solidFill>
                  <a:srgbClr val="A5A6A9"/>
                </a:solidFill>
              </a:rPr>
              <a:t>RESTRICTED</a:t>
            </a:r>
          </a:p>
        </p:txBody>
      </p:sp>
      <p:sp>
        <p:nvSpPr>
          <p:cNvPr id="5123" name="Rectangle 114"/>
          <p:cNvSpPr>
            <a:spLocks noGrp="1" noChangeArrowheads="1"/>
          </p:cNvSpPr>
          <p:nvPr>
            <p:ph type="ctrTitle"/>
          </p:nvPr>
        </p:nvSpPr>
        <p:spPr>
          <a:xfrm>
            <a:off x="729458" y="3920396"/>
            <a:ext cx="8338943" cy="61280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en-GB" altLang="en-US" dirty="0" smtClean="0">
                <a:cs typeface="Arial" charset="0"/>
              </a:rPr>
              <a:t>PCF Internals</a:t>
            </a:r>
            <a:endParaRPr lang="en-GB" altLang="en-US" b="0" dirty="0">
              <a:cs typeface="Arial" charset="0"/>
            </a:endParaRPr>
          </a:p>
        </p:txBody>
      </p:sp>
      <p:sp>
        <p:nvSpPr>
          <p:cNvPr id="5125" name="Rectangle 138"/>
          <p:cNvSpPr>
            <a:spLocks noChangeArrowheads="1"/>
          </p:cNvSpPr>
          <p:nvPr/>
        </p:nvSpPr>
        <p:spPr bwMode="auto">
          <a:xfrm>
            <a:off x="7440641" y="5020226"/>
            <a:ext cx="1839914" cy="204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901700" eaLnBrk="0" hangingPunct="0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·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17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17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17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17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017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017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017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017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GB" altLang="en-US" sz="1135" dirty="0">
                <a:solidFill>
                  <a:srgbClr val="000000"/>
                </a:solidFill>
              </a:rPr>
              <a:t>Date: </a:t>
            </a:r>
            <a:r>
              <a:rPr lang="en-GB" altLang="en-US" sz="1135" dirty="0" smtClean="0">
                <a:solidFill>
                  <a:srgbClr val="000000"/>
                </a:solidFill>
              </a:rPr>
              <a:t>Apr </a:t>
            </a:r>
            <a:r>
              <a:rPr lang="en-GB" altLang="en-US" sz="1135" dirty="0" smtClean="0">
                <a:solidFill>
                  <a:srgbClr val="000000"/>
                </a:solidFill>
              </a:rPr>
              <a:t>2017</a:t>
            </a:r>
          </a:p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GB" altLang="en-US" sz="1135" dirty="0" smtClean="0">
                <a:solidFill>
                  <a:srgbClr val="000000"/>
                </a:solidFill>
              </a:rPr>
              <a:t>Ver. 0.1</a:t>
            </a:r>
            <a:endParaRPr lang="en-GB" altLang="en-US" sz="1135" dirty="0">
              <a:solidFill>
                <a:srgbClr val="000000"/>
              </a:solidFill>
            </a:endParaRPr>
          </a:p>
        </p:txBody>
      </p:sp>
      <p:sp>
        <p:nvSpPr>
          <p:cNvPr id="5127" name="Rectangle 147"/>
          <p:cNvSpPr>
            <a:spLocks noChangeArrowheads="1"/>
          </p:cNvSpPr>
          <p:nvPr/>
        </p:nvSpPr>
        <p:spPr bwMode="auto">
          <a:xfrm>
            <a:off x="708430" y="6085988"/>
            <a:ext cx="6867012" cy="273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901700" eaLnBrk="0" hangingPunct="0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·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17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17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17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17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017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017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017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017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1892" b="0" dirty="0">
                <a:solidFill>
                  <a:srgbClr val="000000"/>
                </a:solidFill>
              </a:rPr>
              <a:t>HSBC Technology and Services</a:t>
            </a:r>
          </a:p>
        </p:txBody>
      </p:sp>
    </p:spTree>
    <p:extLst>
      <p:ext uri="{BB962C8B-B14F-4D97-AF65-F5344CB8AC3E}">
        <p14:creationId xmlns:p14="http://schemas.microsoft.com/office/powerpoint/2010/main" val="2101774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68451" y="1253030"/>
            <a:ext cx="9320494" cy="572464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Need for PCF</a:t>
            </a: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 smtClean="0"/>
              <a:t>Open Source, </a:t>
            </a:r>
            <a:r>
              <a:rPr lang="en-US" sz="1000" b="0" dirty="0" err="1" smtClean="0"/>
              <a:t>PaaS</a:t>
            </a:r>
            <a:r>
              <a:rPr lang="en-US" sz="1000" b="0" dirty="0" smtClean="0"/>
              <a:t> with Underlying </a:t>
            </a:r>
            <a:r>
              <a:rPr lang="en-US" sz="1000" b="0" dirty="0" err="1" smtClean="0"/>
              <a:t>IaaS</a:t>
            </a:r>
            <a:r>
              <a:rPr lang="en-US" sz="1000" b="0" dirty="0" smtClean="0"/>
              <a:t>, Cost Saving, Time to market, App Scalability, Low Deployment Effort, Traditional Monolithic Application issues</a:t>
            </a:r>
          </a:p>
          <a:p>
            <a:pPr marL="171450" indent="-171450" algn="l">
              <a:buFont typeface="Wingdings" panose="05000000000000000000" pitchFamily="2" charset="2"/>
              <a:buChar char="q"/>
            </a:pPr>
            <a:endParaRPr lang="en-US" sz="1000" dirty="0"/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Difference </a:t>
            </a:r>
            <a:r>
              <a:rPr lang="en-US" sz="1200" dirty="0">
                <a:solidFill>
                  <a:schemeClr val="tx2"/>
                </a:solidFill>
              </a:rPr>
              <a:t>between CF and PCF</a:t>
            </a: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 smtClean="0"/>
              <a:t>Enterprise Grade, Tech Support, Enterprise Connectors/Services</a:t>
            </a: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 smtClean="0"/>
              <a:t>PCF Availability As Public Cloud (</a:t>
            </a:r>
            <a:r>
              <a:rPr lang="en-US" sz="1000" b="0" dirty="0" smtClean="0">
                <a:hlinkClick r:id="rId2"/>
              </a:rPr>
              <a:t>http://run.pivotal.io</a:t>
            </a:r>
            <a:r>
              <a:rPr lang="en-US" sz="1000" b="0" dirty="0" smtClean="0"/>
              <a:t>), Private Cloud (In-Premise HSBC)</a:t>
            </a: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 smtClean="0"/>
              <a:t>Light-weight PCF </a:t>
            </a:r>
            <a:r>
              <a:rPr lang="en-US" sz="1000" b="0" dirty="0"/>
              <a:t>Local Installation - </a:t>
            </a:r>
            <a:r>
              <a:rPr lang="en-US" sz="1000" b="0" dirty="0">
                <a:hlinkClick r:id="rId3"/>
              </a:rPr>
              <a:t>https://</a:t>
            </a:r>
            <a:r>
              <a:rPr lang="en-US" sz="1000" b="0" dirty="0" smtClean="0">
                <a:hlinkClick r:id="rId3"/>
              </a:rPr>
              <a:t>network.pivotal.io/products/pcfdev</a:t>
            </a:r>
            <a:endParaRPr lang="en-US" sz="1000" b="0" dirty="0" smtClean="0"/>
          </a:p>
          <a:p>
            <a:pPr marL="171450" indent="-171450" algn="l">
              <a:buFont typeface="Wingdings" panose="05000000000000000000" pitchFamily="2" charset="2"/>
              <a:buChar char="ü"/>
            </a:pPr>
            <a:endParaRPr lang="en-US" sz="1000" dirty="0"/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PCF </a:t>
            </a:r>
            <a:r>
              <a:rPr lang="en-US" sz="1200" dirty="0">
                <a:solidFill>
                  <a:schemeClr val="tx2"/>
                </a:solidFill>
              </a:rPr>
              <a:t>CF </a:t>
            </a:r>
            <a:r>
              <a:rPr lang="en-US" sz="1200" dirty="0">
                <a:solidFill>
                  <a:schemeClr val="tx2"/>
                </a:solidFill>
              </a:rPr>
              <a:t>CLI</a:t>
            </a:r>
          </a:p>
          <a:p>
            <a:pPr marL="171450" indent="-171450" algn="l">
              <a:buFont typeface="Wingdings" panose="05000000000000000000" pitchFamily="2" charset="2"/>
              <a:buChar char="q"/>
            </a:pPr>
            <a:endParaRPr lang="en-US" sz="1000" dirty="0"/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CF </a:t>
            </a:r>
            <a:r>
              <a:rPr lang="en-US" sz="1200" dirty="0">
                <a:solidFill>
                  <a:schemeClr val="tx2"/>
                </a:solidFill>
              </a:rPr>
              <a:t>CLI Command Execution Chain</a:t>
            </a:r>
            <a:endParaRPr lang="en-US" sz="1200" dirty="0">
              <a:solidFill>
                <a:schemeClr val="tx2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q"/>
            </a:pPr>
            <a:endParaRPr lang="en-US" sz="1200" dirty="0">
              <a:solidFill>
                <a:schemeClr val="tx2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PCF </a:t>
            </a:r>
            <a:r>
              <a:rPr lang="en-US" sz="1200" dirty="0">
                <a:solidFill>
                  <a:schemeClr val="tx2"/>
                </a:solidFill>
              </a:rPr>
              <a:t>Internal Architecture</a:t>
            </a: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 smtClean="0"/>
              <a:t>DEA, Cloud Controller, Router, Health Manager, BOSH</a:t>
            </a:r>
          </a:p>
          <a:p>
            <a:pPr marL="171450" indent="-171450" algn="l">
              <a:buFont typeface="Wingdings" panose="05000000000000000000" pitchFamily="2" charset="2"/>
              <a:buChar char="q"/>
            </a:pPr>
            <a:endParaRPr lang="en-US" sz="1000" dirty="0"/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PCF </a:t>
            </a:r>
            <a:r>
              <a:rPr lang="en-US" sz="1200" dirty="0" err="1">
                <a:solidFill>
                  <a:schemeClr val="tx2"/>
                </a:solidFill>
              </a:rPr>
              <a:t>BuildPacks</a:t>
            </a:r>
            <a:endParaRPr lang="en-US" sz="1200" dirty="0">
              <a:solidFill>
                <a:schemeClr val="tx2"/>
              </a:solidFill>
            </a:endParaRP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/>
              <a:t>Types of </a:t>
            </a:r>
            <a:r>
              <a:rPr lang="en-US" sz="1000" b="0" dirty="0" err="1" smtClean="0"/>
              <a:t>BuildPacks</a:t>
            </a:r>
            <a:r>
              <a:rPr lang="en-US" sz="1000" b="0" dirty="0" smtClean="0"/>
              <a:t>, Custom/Shelf </a:t>
            </a:r>
            <a:r>
              <a:rPr lang="en-US" sz="1000" b="0" dirty="0" err="1" smtClean="0"/>
              <a:t>BuildPacks</a:t>
            </a:r>
            <a:r>
              <a:rPr lang="en-US" sz="1000" b="0" dirty="0" smtClean="0"/>
              <a:t>, </a:t>
            </a:r>
            <a:r>
              <a:rPr lang="en-US" sz="1000" b="0" dirty="0" err="1" smtClean="0"/>
              <a:t>cf</a:t>
            </a:r>
            <a:r>
              <a:rPr lang="en-US" sz="1000" b="0" dirty="0" smtClean="0"/>
              <a:t> </a:t>
            </a:r>
            <a:r>
              <a:rPr lang="en-US" sz="1000" b="0" dirty="0" err="1" smtClean="0"/>
              <a:t>buildpacks</a:t>
            </a:r>
            <a:r>
              <a:rPr lang="en-US" sz="1000" b="0" dirty="0" smtClean="0"/>
              <a:t>, </a:t>
            </a:r>
            <a:r>
              <a:rPr lang="en-US" sz="1000" b="0" dirty="0" err="1" smtClean="0"/>
              <a:t>cf</a:t>
            </a:r>
            <a:r>
              <a:rPr lang="en-US" sz="1000" b="0" dirty="0" smtClean="0"/>
              <a:t> create-</a:t>
            </a:r>
            <a:r>
              <a:rPr lang="en-US" sz="1000" b="0" dirty="0" err="1" smtClean="0"/>
              <a:t>buildpack</a:t>
            </a:r>
            <a:r>
              <a:rPr lang="en-US" sz="1000" b="0" dirty="0" smtClean="0"/>
              <a:t>, </a:t>
            </a:r>
            <a:r>
              <a:rPr lang="en-US" sz="1000" b="0" dirty="0" err="1" smtClean="0"/>
              <a:t>cf</a:t>
            </a:r>
            <a:r>
              <a:rPr lang="en-US" sz="1000" b="0" dirty="0" smtClean="0"/>
              <a:t> update-</a:t>
            </a:r>
            <a:r>
              <a:rPr lang="en-US" sz="1000" b="0" dirty="0" err="1" smtClean="0"/>
              <a:t>buildpack</a:t>
            </a:r>
            <a:endParaRPr lang="en-US" sz="1000" b="0" dirty="0" smtClean="0"/>
          </a:p>
          <a:p>
            <a:pPr marL="171450" indent="-171450" algn="l">
              <a:buFont typeface="Wingdings" panose="05000000000000000000" pitchFamily="2" charset="2"/>
              <a:buChar char="q"/>
            </a:pPr>
            <a:endParaRPr lang="en-US" sz="1000" dirty="0"/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PCF </a:t>
            </a:r>
            <a:r>
              <a:rPr lang="en-US" sz="1200" dirty="0">
                <a:solidFill>
                  <a:schemeClr val="tx2"/>
                </a:solidFill>
              </a:rPr>
              <a:t>Logs</a:t>
            </a: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 err="1" smtClean="0"/>
              <a:t>Loggregator</a:t>
            </a:r>
            <a:r>
              <a:rPr lang="en-US" sz="1000" b="0" dirty="0" smtClean="0"/>
              <a:t>, Log commands</a:t>
            </a:r>
            <a:endParaRPr lang="en-US" sz="1000" b="0" dirty="0"/>
          </a:p>
          <a:p>
            <a:pPr marL="171450" indent="-171450" algn="l">
              <a:buFont typeface="Wingdings" panose="05000000000000000000" pitchFamily="2" charset="2"/>
              <a:buChar char="q"/>
            </a:pPr>
            <a:endParaRPr lang="en-US" sz="1000" dirty="0" smtClean="0"/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PCF </a:t>
            </a:r>
            <a:r>
              <a:rPr lang="en-US" sz="1200" dirty="0">
                <a:solidFill>
                  <a:schemeClr val="tx2"/>
                </a:solidFill>
              </a:rPr>
              <a:t>Services, Market place</a:t>
            </a: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 smtClean="0"/>
              <a:t>UPS, Managed Services, Service </a:t>
            </a:r>
            <a:r>
              <a:rPr lang="en-US" sz="1000" b="0" dirty="0" err="1" smtClean="0"/>
              <a:t>Bindings,DB</a:t>
            </a:r>
            <a:r>
              <a:rPr lang="en-US" sz="1000" b="0" dirty="0" smtClean="0"/>
              <a:t> </a:t>
            </a:r>
            <a:r>
              <a:rPr lang="en-US" sz="1000" b="0" dirty="0" err="1" smtClean="0"/>
              <a:t>services,Spring</a:t>
            </a:r>
            <a:r>
              <a:rPr lang="en-US" sz="1000" b="0" dirty="0" smtClean="0"/>
              <a:t> Cloud </a:t>
            </a:r>
            <a:r>
              <a:rPr lang="en-US" sz="1000" b="0" dirty="0" err="1" smtClean="0"/>
              <a:t>Connectors,VCAP_SERVICES</a:t>
            </a:r>
            <a:r>
              <a:rPr lang="en-US" sz="1000" b="0" dirty="0" smtClean="0"/>
              <a:t>, </a:t>
            </a:r>
            <a:r>
              <a:rPr lang="en-US" sz="1000" b="0" dirty="0" err="1" smtClean="0"/>
              <a:t>cf</a:t>
            </a:r>
            <a:r>
              <a:rPr lang="en-US" sz="1000" b="0" dirty="0" smtClean="0"/>
              <a:t> cups </a:t>
            </a:r>
            <a:r>
              <a:rPr lang="en-US" sz="1000" b="0" dirty="0" err="1" smtClean="0"/>
              <a:t>svc_name</a:t>
            </a:r>
            <a:r>
              <a:rPr lang="en-US" sz="1000" b="0" dirty="0" smtClean="0"/>
              <a:t> –p { },</a:t>
            </a:r>
            <a:r>
              <a:rPr lang="en-US" sz="1000" b="0" dirty="0" err="1" smtClean="0"/>
              <a:t>cf</a:t>
            </a:r>
            <a:r>
              <a:rPr lang="en-US" sz="1000" b="0" dirty="0" smtClean="0"/>
              <a:t> bind-service a s</a:t>
            </a:r>
          </a:p>
          <a:p>
            <a:pPr marL="171450" indent="-171450" algn="l">
              <a:buFont typeface="Wingdings" panose="05000000000000000000" pitchFamily="2" charset="2"/>
              <a:buChar char="q"/>
            </a:pPr>
            <a:endParaRPr lang="en-US" sz="1000" dirty="0"/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PCF </a:t>
            </a:r>
            <a:r>
              <a:rPr lang="en-US" sz="1200" dirty="0">
                <a:solidFill>
                  <a:schemeClr val="tx2"/>
                </a:solidFill>
              </a:rPr>
              <a:t>App </a:t>
            </a:r>
            <a:r>
              <a:rPr lang="en-US" sz="1200" dirty="0" smtClean="0">
                <a:solidFill>
                  <a:schemeClr val="tx2"/>
                </a:solidFill>
              </a:rPr>
              <a:t>Scalability, Demo</a:t>
            </a:r>
            <a:endParaRPr lang="en-US" sz="1200" dirty="0">
              <a:solidFill>
                <a:schemeClr val="tx2"/>
              </a:solidFill>
            </a:endParaRP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 smtClean="0"/>
              <a:t>Horizontal, Vertical Scaling, </a:t>
            </a:r>
            <a:r>
              <a:rPr lang="en-US" sz="1000" b="0" dirty="0" err="1"/>
              <a:t>cf</a:t>
            </a:r>
            <a:r>
              <a:rPr lang="en-US" sz="1000" b="0" dirty="0"/>
              <a:t> scale </a:t>
            </a:r>
            <a:r>
              <a:rPr lang="en-US" sz="1000" b="0" dirty="0" err="1"/>
              <a:t>app_name</a:t>
            </a:r>
            <a:r>
              <a:rPr lang="en-US" sz="1000" b="0" dirty="0"/>
              <a:t> –k 5G, </a:t>
            </a:r>
            <a:r>
              <a:rPr lang="en-US" sz="1000" b="0" dirty="0" err="1"/>
              <a:t>cf</a:t>
            </a:r>
            <a:r>
              <a:rPr lang="en-US" sz="1000" b="0" dirty="0"/>
              <a:t> scale </a:t>
            </a:r>
            <a:r>
              <a:rPr lang="en-US" sz="1000" b="0" dirty="0" err="1"/>
              <a:t>app_name</a:t>
            </a:r>
            <a:r>
              <a:rPr lang="en-US" sz="1000" b="0" dirty="0"/>
              <a:t> –m 2G</a:t>
            </a:r>
          </a:p>
          <a:p>
            <a:pPr marL="171450" indent="-171450" algn="l">
              <a:buFont typeface="Wingdings" panose="05000000000000000000" pitchFamily="2" charset="2"/>
              <a:buChar char="q"/>
            </a:pPr>
            <a:endParaRPr lang="en-US" sz="1000" dirty="0"/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Application </a:t>
            </a:r>
            <a:r>
              <a:rPr lang="en-US" sz="1200" dirty="0">
                <a:solidFill>
                  <a:schemeClr val="tx2"/>
                </a:solidFill>
              </a:rPr>
              <a:t>Design For PCF Compatibility</a:t>
            </a:r>
          </a:p>
          <a:p>
            <a:pPr marL="606476" lvl="1" indent="-171450" algn="l">
              <a:buFont typeface="Wingdings" panose="05000000000000000000" pitchFamily="2" charset="2"/>
              <a:buChar char="ü"/>
            </a:pPr>
            <a:r>
              <a:rPr lang="en-US" sz="1000" b="0" dirty="0" smtClean="0"/>
              <a:t>12 Factor App (</a:t>
            </a:r>
            <a:r>
              <a:rPr lang="en-US" sz="1000" b="0" dirty="0" smtClean="0">
                <a:hlinkClick r:id="rId4"/>
              </a:rPr>
              <a:t>http://12factor.net</a:t>
            </a:r>
            <a:r>
              <a:rPr lang="en-US" sz="1000" b="0" dirty="0" smtClean="0"/>
              <a:t>), No JNDI, No File System Access</a:t>
            </a:r>
          </a:p>
          <a:p>
            <a:pPr marL="171450" indent="-171450" algn="l">
              <a:buFont typeface="Wingdings" panose="05000000000000000000" pitchFamily="2" charset="2"/>
              <a:buChar char="q"/>
            </a:pPr>
            <a:endParaRPr lang="en-US" sz="1200" dirty="0">
              <a:solidFill>
                <a:schemeClr val="tx2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chemeClr val="tx2"/>
                </a:solidFill>
              </a:rPr>
              <a:t>    Target </a:t>
            </a:r>
            <a:r>
              <a:rPr lang="en-US" sz="1200" dirty="0">
                <a:solidFill>
                  <a:schemeClr val="tx2"/>
                </a:solidFill>
              </a:rPr>
              <a:t>Architecture </a:t>
            </a:r>
          </a:p>
          <a:p>
            <a:pPr marL="1041502" lvl="2" indent="-171450" algn="l">
              <a:buFont typeface="Wingdings" panose="05000000000000000000" pitchFamily="2" charset="2"/>
              <a:buChar char="ü"/>
            </a:pPr>
            <a:r>
              <a:rPr lang="en-US" sz="1000" b="0" dirty="0" smtClean="0"/>
              <a:t>Eureka, Spring Boot, Spring Cloud, Spring </a:t>
            </a:r>
            <a:r>
              <a:rPr lang="en-US" sz="1000" b="0" dirty="0" err="1" smtClean="0"/>
              <a:t>Config</a:t>
            </a:r>
            <a:r>
              <a:rPr lang="en-US" sz="1000" b="0" dirty="0" smtClean="0"/>
              <a:t> Server, Ribbon, </a:t>
            </a:r>
            <a:r>
              <a:rPr lang="en-US" sz="1000" b="0" dirty="0" err="1" smtClean="0"/>
              <a:t>Hystrix</a:t>
            </a:r>
            <a:r>
              <a:rPr lang="en-US" sz="1000" b="0" dirty="0" smtClean="0"/>
              <a:t>, </a:t>
            </a:r>
            <a:r>
              <a:rPr lang="en-US" sz="1000" b="0" dirty="0" err="1" smtClean="0"/>
              <a:t>Zuul</a:t>
            </a:r>
            <a:endParaRPr lang="en-US" sz="100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RESTRICTED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267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F Push Workflow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RESTRICTED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07000" y="4551182"/>
            <a:ext cx="8914090" cy="17851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en-US" b="0" dirty="0" smtClean="0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b="0" dirty="0" smtClean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0" dirty="0" smtClean="0"/>
              <a:t>DEA component (Droplet Execution Agent) is responsible for selecting </a:t>
            </a:r>
            <a:r>
              <a:rPr lang="en-US" b="0" dirty="0" err="1" smtClean="0"/>
              <a:t>buildpacks</a:t>
            </a:r>
            <a:r>
              <a:rPr lang="en-US" b="0" dirty="0"/>
              <a:t> </a:t>
            </a:r>
            <a:r>
              <a:rPr lang="en-US" b="0" dirty="0" smtClean="0"/>
              <a:t>and staging the droplet. The request is first received by PCF </a:t>
            </a:r>
            <a:r>
              <a:rPr lang="en-US" b="0" dirty="0" err="1" smtClean="0"/>
              <a:t>CloudController</a:t>
            </a:r>
            <a:r>
              <a:rPr lang="en-US" b="0" dirty="0" smtClean="0"/>
              <a:t> component which has a database of all Orgs, Spaces, instances etc. </a:t>
            </a:r>
            <a:r>
              <a:rPr lang="en-US" b="0" dirty="0" err="1"/>
              <a:t>C</a:t>
            </a:r>
            <a:r>
              <a:rPr lang="en-US" b="0" dirty="0" err="1" smtClean="0"/>
              <a:t>loudController</a:t>
            </a:r>
            <a:r>
              <a:rPr lang="en-US" b="0" dirty="0" smtClean="0"/>
              <a:t> interacts with </a:t>
            </a:r>
            <a:r>
              <a:rPr lang="en-US" b="0" dirty="0" err="1" smtClean="0"/>
              <a:t>HealthManager</a:t>
            </a:r>
            <a:r>
              <a:rPr lang="en-US" b="0" dirty="0" smtClean="0"/>
              <a:t> to get information on health of deployed apps.</a:t>
            </a:r>
            <a:endParaRPr lang="en-US" b="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b="0" dirty="0" smtClean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0" dirty="0"/>
              <a:t>Pivotal</a:t>
            </a:r>
            <a:r>
              <a:rPr lang="en-US" b="0" dirty="0" smtClean="0"/>
              <a:t> </a:t>
            </a:r>
            <a:r>
              <a:rPr lang="en-US" b="0" dirty="0" err="1"/>
              <a:t>OpsManager</a:t>
            </a:r>
            <a:r>
              <a:rPr lang="en-US" b="0" dirty="0" smtClean="0"/>
              <a:t> is </a:t>
            </a:r>
            <a:r>
              <a:rPr lang="en-US" b="0" dirty="0"/>
              <a:t>a web application that </a:t>
            </a:r>
            <a:r>
              <a:rPr lang="en-US" b="0" dirty="0" smtClean="0"/>
              <a:t>we use </a:t>
            </a:r>
            <a:r>
              <a:rPr lang="en-US" b="0" dirty="0"/>
              <a:t>to deploy and manage a Pivotal CF </a:t>
            </a:r>
            <a:r>
              <a:rPr lang="en-US" b="0" dirty="0" err="1" smtClean="0"/>
              <a:t>PaaS</a:t>
            </a:r>
            <a:r>
              <a:rPr lang="en-US" b="0" dirty="0" smtClean="0"/>
              <a:t>. BOSH agent is installed on all the PCF VMs. BOSH controls the VM creation and interacts with </a:t>
            </a:r>
            <a:r>
              <a:rPr lang="en-US" b="0" smtClean="0"/>
              <a:t>the underlying </a:t>
            </a:r>
            <a:r>
              <a:rPr lang="en-US" b="0" dirty="0" err="1" smtClean="0"/>
              <a:t>IaaS</a:t>
            </a:r>
            <a:r>
              <a:rPr lang="en-US" b="0" dirty="0" smtClean="0"/>
              <a:t>.</a:t>
            </a:r>
            <a:endParaRPr lang="en-US" b="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b="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b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019" y="1403930"/>
            <a:ext cx="8654471" cy="28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781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>
            <a:off x="2272147" y="1958109"/>
            <a:ext cx="3121890" cy="3602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dirty="0" smtClean="0">
                <a:solidFill>
                  <a:schemeClr val="tx2"/>
                </a:solidFill>
              </a:rPr>
              <a:t>Virtual Machine</a:t>
            </a:r>
          </a:p>
          <a:p>
            <a:pPr algn="ctr" defTabSz="869950"/>
            <a:endParaRPr lang="en-US" sz="1200" b="0" dirty="0">
              <a:solidFill>
                <a:schemeClr val="tx2"/>
              </a:solidFill>
            </a:endParaRPr>
          </a:p>
          <a:p>
            <a:pPr algn="ctr" defTabSz="869950"/>
            <a:endParaRPr lang="en-US" sz="1200" b="0" dirty="0" smtClean="0">
              <a:solidFill>
                <a:schemeClr val="tx2"/>
              </a:solidFill>
            </a:endParaRPr>
          </a:p>
          <a:p>
            <a:pPr algn="ctr" defTabSz="869950"/>
            <a:endParaRPr lang="en-US" sz="1200" b="0" dirty="0">
              <a:solidFill>
                <a:schemeClr val="tx2"/>
              </a:solidFill>
            </a:endParaRPr>
          </a:p>
          <a:p>
            <a:pPr algn="ctr" defTabSz="869950"/>
            <a:endParaRPr lang="en-US" sz="1200" b="0" dirty="0" smtClean="0">
              <a:solidFill>
                <a:schemeClr val="tx2"/>
              </a:solidFill>
            </a:endParaRPr>
          </a:p>
          <a:p>
            <a:pPr algn="ctr" defTabSz="869950"/>
            <a:endParaRPr lang="en-US" sz="1200" b="0" dirty="0">
              <a:solidFill>
                <a:schemeClr val="tx2"/>
              </a:solidFill>
            </a:endParaRPr>
          </a:p>
          <a:p>
            <a:pPr algn="ctr" defTabSz="869950"/>
            <a:endParaRPr lang="en-US" sz="1200" b="0" dirty="0" smtClean="0">
              <a:solidFill>
                <a:schemeClr val="tx2"/>
              </a:solidFill>
            </a:endParaRPr>
          </a:p>
          <a:p>
            <a:pPr algn="ctr" defTabSz="869950"/>
            <a:endParaRPr lang="en-US" sz="1200" b="0" dirty="0">
              <a:solidFill>
                <a:schemeClr val="tx2"/>
              </a:solidFill>
            </a:endParaRPr>
          </a:p>
          <a:p>
            <a:pPr algn="ctr" defTabSz="869950"/>
            <a:endParaRPr lang="en-US" sz="1200" b="0" dirty="0" smtClean="0">
              <a:solidFill>
                <a:schemeClr val="tx2"/>
              </a:solidFill>
            </a:endParaRPr>
          </a:p>
          <a:p>
            <a:pPr algn="ctr" defTabSz="869950"/>
            <a:endParaRPr lang="en-US" sz="1200" b="0" dirty="0">
              <a:solidFill>
                <a:schemeClr val="tx2"/>
              </a:solidFill>
            </a:endParaRPr>
          </a:p>
          <a:p>
            <a:pPr algn="ctr" defTabSz="869950"/>
            <a:endParaRPr lang="en-US" sz="1200" b="0" dirty="0" smtClean="0">
              <a:solidFill>
                <a:schemeClr val="tx2"/>
              </a:solidFill>
            </a:endParaRPr>
          </a:p>
          <a:p>
            <a:pPr algn="ctr" defTabSz="869950"/>
            <a:endParaRPr lang="en-US" sz="1200" b="0" dirty="0">
              <a:solidFill>
                <a:schemeClr val="tx2"/>
              </a:solidFill>
            </a:endParaRPr>
          </a:p>
          <a:p>
            <a:pPr algn="ctr" defTabSz="869950"/>
            <a:endParaRPr lang="en-US" sz="1200" b="0" dirty="0" smtClean="0">
              <a:solidFill>
                <a:schemeClr val="tx2"/>
              </a:solidFill>
            </a:endParaRPr>
          </a:p>
          <a:p>
            <a:pPr algn="ctr" defTabSz="869950"/>
            <a:endParaRPr lang="en-US" sz="1200" b="0" dirty="0">
              <a:solidFill>
                <a:schemeClr val="tx2"/>
              </a:solidFill>
            </a:endParaRPr>
          </a:p>
          <a:p>
            <a:pPr algn="ctr" defTabSz="869950"/>
            <a:endParaRPr lang="en-US" sz="1200" b="0" dirty="0" smtClean="0">
              <a:solidFill>
                <a:schemeClr val="tx2"/>
              </a:solidFill>
            </a:endParaRPr>
          </a:p>
          <a:p>
            <a:pPr algn="ctr" defTabSz="869950"/>
            <a:endParaRPr lang="en-US" sz="1200" b="0" dirty="0">
              <a:solidFill>
                <a:schemeClr val="tx2"/>
              </a:solidFill>
            </a:endParaRPr>
          </a:p>
          <a:p>
            <a:pPr algn="ctr" defTabSz="869950"/>
            <a:endParaRPr lang="en-US" sz="1200" b="0" dirty="0" smtClean="0">
              <a:solidFill>
                <a:schemeClr val="tx2"/>
              </a:solidFill>
            </a:endParaRPr>
          </a:p>
          <a:p>
            <a:pPr algn="ctr" defTabSz="869950"/>
            <a:endParaRPr lang="en-US" sz="1200" b="0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CF Overall Archite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RESTRICTED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304802" y="3327365"/>
            <a:ext cx="1394691" cy="9144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smtClean="0">
                <a:solidFill>
                  <a:schemeClr val="bg1"/>
                </a:solidFill>
              </a:rPr>
              <a:t>Cloud Controller</a:t>
            </a: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2627745" y="2537721"/>
            <a:ext cx="1394691" cy="9144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smtClean="0">
                <a:solidFill>
                  <a:schemeClr val="bg1"/>
                </a:solidFill>
              </a:rPr>
              <a:t>Droplet Execution Agent</a:t>
            </a: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3048000" y="3285861"/>
            <a:ext cx="1394691" cy="9144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smtClean="0">
                <a:solidFill>
                  <a:schemeClr val="bg1"/>
                </a:solidFill>
              </a:rPr>
              <a:t>Droplet Execution Agent</a:t>
            </a: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620654" y="3992443"/>
            <a:ext cx="1394691" cy="9144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smtClean="0">
                <a:solidFill>
                  <a:schemeClr val="bg1"/>
                </a:solidFill>
              </a:rPr>
              <a:t>Droplet Execution Agent</a:t>
            </a:r>
            <a:endParaRPr lang="en-US" sz="1200" b="0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7546109" y="2318327"/>
            <a:ext cx="18473" cy="42025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296789" y="1958109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 smtClean="0"/>
              <a:t>IaaS</a:t>
            </a:r>
            <a:endParaRPr lang="en-US" sz="1600" dirty="0"/>
          </a:p>
        </p:txBody>
      </p:sp>
      <p:sp>
        <p:nvSpPr>
          <p:cNvPr id="13" name="Rounded Rectangle 12"/>
          <p:cNvSpPr/>
          <p:nvPr/>
        </p:nvSpPr>
        <p:spPr bwMode="auto">
          <a:xfrm>
            <a:off x="7979730" y="2521587"/>
            <a:ext cx="1394691" cy="52641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smtClean="0">
                <a:solidFill>
                  <a:schemeClr val="bg1"/>
                </a:solidFill>
              </a:rPr>
              <a:t>AWS</a:t>
            </a: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7979729" y="3678409"/>
            <a:ext cx="1394691" cy="52641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err="1" smtClean="0">
                <a:solidFill>
                  <a:schemeClr val="bg1"/>
                </a:solidFill>
              </a:rPr>
              <a:t>OpenStack</a:t>
            </a: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7979730" y="4796006"/>
            <a:ext cx="1394691" cy="52641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smtClean="0">
                <a:solidFill>
                  <a:schemeClr val="bg1"/>
                </a:solidFill>
              </a:rPr>
              <a:t>VMWare </a:t>
            </a:r>
            <a:r>
              <a:rPr lang="en-US" sz="1200" b="0" dirty="0" err="1" smtClean="0">
                <a:solidFill>
                  <a:schemeClr val="bg1"/>
                </a:solidFill>
              </a:rPr>
              <a:t>vSphere</a:t>
            </a: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6489524" y="2296663"/>
            <a:ext cx="677893" cy="318974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smtClean="0">
                <a:solidFill>
                  <a:schemeClr val="bg1"/>
                </a:solidFill>
              </a:rPr>
              <a:t>BOSH</a:t>
            </a:r>
          </a:p>
          <a:p>
            <a:pPr algn="ctr" defTabSz="869950"/>
            <a:endParaRPr lang="en-US" sz="1200" b="0" dirty="0">
              <a:solidFill>
                <a:schemeClr val="bg1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1002147" y="1958109"/>
            <a:ext cx="0" cy="12469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88007" y="2318327"/>
            <a:ext cx="11817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F Commands</a:t>
            </a:r>
            <a:endParaRPr lang="en-US" dirty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7259782" y="3011058"/>
            <a:ext cx="628073" cy="8012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7259782" y="4075514"/>
            <a:ext cx="628073" cy="7181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7259782" y="3919735"/>
            <a:ext cx="6280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H="1">
            <a:off x="5015345" y="4628555"/>
            <a:ext cx="14039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H="1">
            <a:off x="4442691" y="3672591"/>
            <a:ext cx="205509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H="1">
            <a:off x="4022436" y="3039901"/>
            <a:ext cx="24522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 bwMode="auto">
          <a:xfrm>
            <a:off x="1551708" y="5800435"/>
            <a:ext cx="5514109" cy="8416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dirty="0" smtClean="0">
                <a:solidFill>
                  <a:schemeClr val="tx2"/>
                </a:solidFill>
              </a:rPr>
              <a:t>Web Console</a:t>
            </a:r>
          </a:p>
          <a:p>
            <a:pPr algn="ctr" defTabSz="869950"/>
            <a:endParaRPr lang="en-US" sz="1200" dirty="0">
              <a:solidFill>
                <a:schemeClr val="tx2"/>
              </a:solidFill>
            </a:endParaRPr>
          </a:p>
          <a:p>
            <a:pPr algn="ctr" defTabSz="869950"/>
            <a:endParaRPr lang="en-US" sz="1200" dirty="0" smtClean="0">
              <a:solidFill>
                <a:schemeClr val="tx2"/>
              </a:solidFill>
            </a:endParaRPr>
          </a:p>
          <a:p>
            <a:pPr algn="ctr" defTabSz="869950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4" name="Rounded Rectangle 33"/>
          <p:cNvSpPr/>
          <p:nvPr/>
        </p:nvSpPr>
        <p:spPr bwMode="auto">
          <a:xfrm>
            <a:off x="2258289" y="6100613"/>
            <a:ext cx="1394691" cy="376055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smtClean="0">
                <a:solidFill>
                  <a:schemeClr val="bg1"/>
                </a:solidFill>
              </a:rPr>
              <a:t>Pivotal Ops Manager</a:t>
            </a: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5033816" y="6104442"/>
            <a:ext cx="1394691" cy="376055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 defTabSz="869950"/>
            <a:r>
              <a:rPr lang="en-US" sz="1200" b="0" dirty="0" smtClean="0">
                <a:solidFill>
                  <a:schemeClr val="bg1"/>
                </a:solidFill>
              </a:rPr>
              <a:t>Pivotal Apps Manager</a:t>
            </a:r>
            <a:endParaRPr lang="en-US" sz="1200" b="0" dirty="0">
              <a:solidFill>
                <a:schemeClr val="bg1"/>
              </a:solidFill>
            </a:endParaRPr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1704117" y="3763818"/>
            <a:ext cx="9236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1699493" y="3770710"/>
            <a:ext cx="67839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roplet</a:t>
            </a:r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4033017" y="2463763"/>
            <a:ext cx="14334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en-US" sz="800" dirty="0" smtClean="0"/>
              <a:t>Sniff Droplet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sz="800" dirty="0" smtClean="0"/>
              <a:t>Download </a:t>
            </a:r>
            <a:r>
              <a:rPr lang="en-US" sz="800" dirty="0" err="1" smtClean="0"/>
              <a:t>BuildPack</a:t>
            </a:r>
            <a:endParaRPr lang="en-US" sz="800" dirty="0" smtClean="0"/>
          </a:p>
          <a:p>
            <a:pPr marL="228600" indent="-228600" algn="l">
              <a:buFont typeface="+mj-lt"/>
              <a:buAutoNum type="arabicPeriod"/>
            </a:pPr>
            <a:r>
              <a:rPr lang="en-US" sz="800" dirty="0" smtClean="0"/>
              <a:t>Install App</a:t>
            </a:r>
            <a:endParaRPr lang="en-US" sz="800" dirty="0"/>
          </a:p>
        </p:txBody>
      </p:sp>
      <p:sp>
        <p:nvSpPr>
          <p:cNvPr id="43" name="TextBox 42"/>
          <p:cNvSpPr txBox="1"/>
          <p:nvPr/>
        </p:nvSpPr>
        <p:spPr>
          <a:xfrm>
            <a:off x="5698066" y="1991174"/>
            <a:ext cx="19319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Infra Orchestrator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9083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CF Internal Logical Archite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000000"/>
                </a:solidFill>
              </a:rPr>
              <a:t>RESTRICTED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9310" y="2540000"/>
            <a:ext cx="4147126" cy="261389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778" y="1727200"/>
            <a:ext cx="4481586" cy="442421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095963" y="5061528"/>
            <a:ext cx="476124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 err="1" smtClean="0"/>
              <a:t>HAProxy</a:t>
            </a:r>
            <a:r>
              <a:rPr lang="en-US" dirty="0" smtClean="0"/>
              <a:t> is the load balancer and is not production grad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 err="1" smtClean="0"/>
              <a:t>HAProxy</a:t>
            </a:r>
            <a:r>
              <a:rPr lang="en-US" dirty="0" smtClean="0"/>
              <a:t> can be managed via </a:t>
            </a:r>
            <a:r>
              <a:rPr lang="en-US" dirty="0" err="1" smtClean="0"/>
              <a:t>OpsManager</a:t>
            </a:r>
            <a:r>
              <a:rPr lang="en-US" dirty="0" smtClean="0"/>
              <a:t> and a new one can be </a:t>
            </a:r>
          </a:p>
          <a:p>
            <a:pPr algn="l"/>
            <a:r>
              <a:rPr lang="en-US" dirty="0"/>
              <a:t> </a:t>
            </a:r>
            <a:r>
              <a:rPr lang="en-US" dirty="0" smtClean="0"/>
              <a:t>    configured</a:t>
            </a:r>
            <a:endParaRPr lang="en-US" dirty="0"/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6844145" y="1921164"/>
            <a:ext cx="0" cy="7112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844145" y="2109014"/>
            <a:ext cx="10935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tp reques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14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RESTRICTED</a:t>
            </a:r>
            <a:endParaRPr lang="en-GB" dirty="0"/>
          </a:p>
        </p:txBody>
      </p:sp>
      <p:sp>
        <p:nvSpPr>
          <p:cNvPr id="9" name="Rectangle 114"/>
          <p:cNvSpPr>
            <a:spLocks noGrp="1" noChangeArrowheads="1"/>
          </p:cNvSpPr>
          <p:nvPr>
            <p:ph type="ctrTitle"/>
          </p:nvPr>
        </p:nvSpPr>
        <p:spPr>
          <a:xfrm>
            <a:off x="3159475" y="2851994"/>
            <a:ext cx="4291902" cy="61280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en-GB" altLang="en-US" sz="4000" b="1" dirty="0" smtClean="0">
                <a:cs typeface="Arial" charset="0"/>
              </a:rPr>
              <a:t>Thank You</a:t>
            </a:r>
            <a:endParaRPr lang="en-GB" altLang="en-US" sz="4000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295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1.86190821000000020000E+000&quot;&gt;&lt;m_ppcolschidx val=&quot;0&quot;/&gt;&lt;m_rgb r=&quot;a3&quot; g=&quot;a3&quot; b=&quot;a3&quot;/&gt;&lt;/elem&gt;&lt;elem m_fUsage=&quot;1.11642048900000000000E+000&quot;&gt;&lt;m_ppcolschidx val=&quot;0&quot;/&gt;&lt;m_rgb r=&quot;95&quot; g=&quot;93&quot; b=&quot;93&quot;/&gt;&lt;/elem&gt;&lt;elem m_fUsage=&quot;1.06878690000000010000E+000&quot;&gt;&lt;m_ppcolschidx val=&quot;0&quot;/&gt;&lt;m_rgb r=&quot;96&quot; g=&quot;87&quot; b=&quot;81&quot;/&gt;&lt;/elem&gt;&lt;elem m_fUsage=&quot;1.00000000000000000000E+000&quot;&gt;&lt;m_ppcolschidx val=&quot;0&quot;/&gt;&lt;m_rgb r=&quot;e2&quot; g=&quot;e2&quot; b=&quot;e2&quot;/&gt;&lt;/elem&gt;&lt;elem m_fUsage=&quot;8.10000000000000050000E-001&quot;&gt;&lt;m_ppcolschidx val=&quot;0&quot;/&gt;&lt;m_rgb r=&quot;d1&quot; g=&quot;cf&quot; b=&quot;cd&quot;/&gt;&lt;/elem&gt;&lt;elem m_fUsage=&quot;6.56100000000000130000E-001&quot;&gt;&lt;m_ppcolschidx val=&quot;0&quot;/&gt;&lt;m_rgb r=&quot;a2&quot; g=&quot;9d&quot; b=&quot;a8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2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ELqibZQ0ywiiSPvxsO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.fxOtfl0OpbOTz6X99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YOYhTTq0OAd9u6VpXu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kZkhQjkGCAxtWGrzZ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K Wealth proposition template v 2">
  <a:themeElements>
    <a:clrScheme name="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65000"/>
          </a:schemeClr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1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11.xml><?xml version="1.0" encoding="utf-8"?>
<a:theme xmlns:a="http://schemas.openxmlformats.org/drawingml/2006/main" name="52907[1]">
  <a:themeElements>
    <a:clrScheme name="HSBC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HSBC">
      <a:majorFont>
        <a:latin typeface="Calibri"/>
        <a:ea typeface="MS PGothic"/>
        <a:cs typeface=""/>
      </a:majorFont>
      <a:minorFont>
        <a:latin typeface="Calibri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HSBC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BC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BC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BC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BC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SBC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BC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BC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BC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BC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BC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SBC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13.xml><?xml version="1.0" encoding="utf-8"?>
<a:theme xmlns:a="http://schemas.openxmlformats.org/drawingml/2006/main" name="2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14.xml><?xml version="1.0" encoding="utf-8"?>
<a:theme xmlns:a="http://schemas.openxmlformats.org/drawingml/2006/main" name="3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15.xml><?xml version="1.0" encoding="utf-8"?>
<a:theme xmlns:a="http://schemas.openxmlformats.org/drawingml/2006/main" name="4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16.xml><?xml version="1.0" encoding="utf-8"?>
<a:theme xmlns:a="http://schemas.openxmlformats.org/drawingml/2006/main" name="5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17.xml><?xml version="1.0" encoding="utf-8"?>
<a:theme xmlns:a="http://schemas.openxmlformats.org/drawingml/2006/main" name="6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18.xml><?xml version="1.0" encoding="utf-8"?>
<a:theme xmlns:a="http://schemas.openxmlformats.org/drawingml/2006/main" name="7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19.xml><?xml version="1.0" encoding="utf-8"?>
<a:theme xmlns:a="http://schemas.openxmlformats.org/drawingml/2006/main" name="9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1_A4 Non-Message Driven">
  <a:themeElements>
    <a:clrScheme name="1_A4 Non-Message Driven 2">
      <a:dk1>
        <a:srgbClr val="000000"/>
      </a:dk1>
      <a:lt1>
        <a:srgbClr val="FFFFFF"/>
      </a:lt1>
      <a:dk2>
        <a:srgbClr val="FDD0B9"/>
      </a:dk2>
      <a:lt2>
        <a:srgbClr val="323232"/>
      </a:lt2>
      <a:accent1>
        <a:srgbClr val="FF0000"/>
      </a:accent1>
      <a:accent2>
        <a:srgbClr val="999999"/>
      </a:accent2>
      <a:accent3>
        <a:srgbClr val="FFFFFF"/>
      </a:accent3>
      <a:accent4>
        <a:srgbClr val="000000"/>
      </a:accent4>
      <a:accent5>
        <a:srgbClr val="FFAAAA"/>
      </a:accent5>
      <a:accent6>
        <a:srgbClr val="8A8A8A"/>
      </a:accent6>
      <a:hlink>
        <a:srgbClr val="E6E6E6"/>
      </a:hlink>
      <a:folHlink>
        <a:srgbClr val="666666"/>
      </a:folHlink>
    </a:clrScheme>
    <a:fontScheme name="1_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3175" cap="flat" cmpd="sng" algn="ctr">
          <a:solidFill>
            <a:srgbClr val="EAEAEA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Times New Roman" pitchFamily="18" charset="0"/>
          <a:buChar char="•"/>
          <a:tabLst/>
          <a:defRPr kumimoji="0" lang="en-GB" sz="15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3175" cap="flat" cmpd="sng" algn="ctr">
          <a:solidFill>
            <a:srgbClr val="EAEAEA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Times New Roman" pitchFamily="18" charset="0"/>
          <a:buChar char="•"/>
          <a:tabLst/>
          <a:defRPr kumimoji="0" lang="en-GB" sz="15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A4 Non-Message Driven 1">
        <a:dk1>
          <a:srgbClr val="000000"/>
        </a:dk1>
        <a:lt1>
          <a:srgbClr val="FFFFFF"/>
        </a:lt1>
        <a:dk2>
          <a:srgbClr val="E6B012"/>
        </a:dk2>
        <a:lt2>
          <a:srgbClr val="6699C2"/>
        </a:lt2>
        <a:accent1>
          <a:srgbClr val="FF0000"/>
        </a:accent1>
        <a:accent2>
          <a:srgbClr val="626469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585A5E"/>
        </a:accent6>
        <a:hlink>
          <a:srgbClr val="BEBEBE"/>
        </a:hlink>
        <a:folHlink>
          <a:srgbClr val="F9AE9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A4 Non-Message Driven 2">
        <a:dk1>
          <a:srgbClr val="000000"/>
        </a:dk1>
        <a:lt1>
          <a:srgbClr val="FFFFFF"/>
        </a:lt1>
        <a:dk2>
          <a:srgbClr val="FDD0B9"/>
        </a:dk2>
        <a:lt2>
          <a:srgbClr val="323232"/>
        </a:lt2>
        <a:accent1>
          <a:srgbClr val="FF0000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8A8A8A"/>
        </a:accent6>
        <a:hlink>
          <a:srgbClr val="E6E6E6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0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21.xml><?xml version="1.0" encoding="utf-8"?>
<a:theme xmlns:a="http://schemas.openxmlformats.org/drawingml/2006/main" name="11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22.xml><?xml version="1.0" encoding="utf-8"?>
<a:theme xmlns:a="http://schemas.openxmlformats.org/drawingml/2006/main" name="14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23.xml><?xml version="1.0" encoding="utf-8"?>
<a:theme xmlns:a="http://schemas.openxmlformats.org/drawingml/2006/main" name="15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24.xml><?xml version="1.0" encoding="utf-8"?>
<a:theme xmlns:a="http://schemas.openxmlformats.org/drawingml/2006/main" name="Theme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16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26.xml><?xml version="1.0" encoding="utf-8"?>
<a:theme xmlns:a="http://schemas.openxmlformats.org/drawingml/2006/main" name="17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27.xml><?xml version="1.0" encoding="utf-8"?>
<a:theme xmlns:a="http://schemas.openxmlformats.org/drawingml/2006/main" name="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1_A4 Non-Message Driven HSBC">
  <a:themeElements>
    <a:clrScheme name="A4 Non-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18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12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30.xml><?xml version="1.0" encoding="utf-8"?>
<a:theme xmlns:a="http://schemas.openxmlformats.org/drawingml/2006/main" name="2_A4 Non-Message Driven HSBC">
  <a:themeElements>
    <a:clrScheme name="A4 Non-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1_blank">
  <a:themeElements>
    <a:clrScheme name="HSBC">
      <a:dk1>
        <a:srgbClr val="000000"/>
      </a:dk1>
      <a:lt1>
        <a:srgbClr val="FFFFFF"/>
      </a:lt1>
      <a:dk2>
        <a:srgbClr val="FF0000"/>
      </a:dk2>
      <a:lt2>
        <a:srgbClr val="A5A6A9"/>
      </a:lt2>
      <a:accent1>
        <a:srgbClr val="EAEAEA"/>
      </a:accent1>
      <a:accent2>
        <a:srgbClr val="559FD3"/>
      </a:accent2>
      <a:accent3>
        <a:srgbClr val="CACBCD"/>
      </a:accent3>
      <a:accent4>
        <a:srgbClr val="FF0000"/>
      </a:accent4>
      <a:accent5>
        <a:srgbClr val="ABB0BC"/>
      </a:accent5>
      <a:accent6>
        <a:srgbClr val="FDB812"/>
      </a:accent6>
      <a:hlink>
        <a:srgbClr val="1A4173"/>
      </a:hlink>
      <a:folHlink>
        <a:srgbClr val="B9D3ED"/>
      </a:folHlink>
    </a:clrScheme>
    <a:fontScheme name="HSB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8E8E8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1" i="0" u="none" strike="noStrike" cap="none" normalizeH="0" baseline="0" dirty="0" smtClean="0">
            <a:solidFill>
              <a:schemeClr val="tx1"/>
            </a:solidFill>
            <a:effectLst/>
            <a:cs typeface="Arial" pitchFamily="34" charset="0"/>
          </a:defRPr>
        </a:defPPr>
      </a:lstStyle>
    </a:spDef>
    <a:lnDef>
      <a:spPr bwMode="auto">
        <a:noFill/>
        <a:ln w="9525" cap="flat" cmpd="sng" algn="ctr">
          <a:solidFill>
            <a:srgbClr val="626469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  <a:txDef>
      <a:spPr>
        <a:noFill/>
      </a:spPr>
      <a:bodyPr wrap="square" rtlCol="0" anchor="ctr">
        <a:spAutoFit/>
      </a:bodyPr>
      <a:lstStyle>
        <a:defPPr algn="ctr">
          <a:defRPr sz="1200" b="1" dirty="0" smtClean="0">
            <a:cs typeface="Arial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496A6CFA-3538-43CA-91B2-E92DC257BA2B}" vid="{9F4A0644-F2C1-4BBB-9D45-71A452EACFBC}"/>
    </a:ext>
  </a:extLst>
</a:theme>
</file>

<file path=ppt/theme/theme3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3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5.xml><?xml version="1.0" encoding="utf-8"?>
<a:theme xmlns:a="http://schemas.openxmlformats.org/drawingml/2006/main" name="2_A4 Non-Message Driven">
  <a:themeElements>
    <a:clrScheme name="1_A4 Non-Message Driven 2">
      <a:dk1>
        <a:srgbClr val="000000"/>
      </a:dk1>
      <a:lt1>
        <a:srgbClr val="FFFFFF"/>
      </a:lt1>
      <a:dk2>
        <a:srgbClr val="FDD0B9"/>
      </a:dk2>
      <a:lt2>
        <a:srgbClr val="323232"/>
      </a:lt2>
      <a:accent1>
        <a:srgbClr val="FF0000"/>
      </a:accent1>
      <a:accent2>
        <a:srgbClr val="999999"/>
      </a:accent2>
      <a:accent3>
        <a:srgbClr val="FFFFFF"/>
      </a:accent3>
      <a:accent4>
        <a:srgbClr val="000000"/>
      </a:accent4>
      <a:accent5>
        <a:srgbClr val="FFAAAA"/>
      </a:accent5>
      <a:accent6>
        <a:srgbClr val="8A8A8A"/>
      </a:accent6>
      <a:hlink>
        <a:srgbClr val="E6E6E6"/>
      </a:hlink>
      <a:folHlink>
        <a:srgbClr val="666666"/>
      </a:folHlink>
    </a:clrScheme>
    <a:fontScheme name="1_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3175" cap="flat" cmpd="sng" algn="ctr">
          <a:solidFill>
            <a:srgbClr val="EAEAEA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Times New Roman" pitchFamily="18" charset="0"/>
          <a:buChar char="•"/>
          <a:tabLst/>
          <a:defRPr kumimoji="0" lang="en-GB" sz="15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3175" cap="flat" cmpd="sng" algn="ctr">
          <a:solidFill>
            <a:srgbClr val="EAEAEA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Times New Roman" pitchFamily="18" charset="0"/>
          <a:buChar char="•"/>
          <a:tabLst/>
          <a:defRPr kumimoji="0" lang="en-GB" sz="15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A4 Non-Message Driven 1">
        <a:dk1>
          <a:srgbClr val="000000"/>
        </a:dk1>
        <a:lt1>
          <a:srgbClr val="FFFFFF"/>
        </a:lt1>
        <a:dk2>
          <a:srgbClr val="E6B012"/>
        </a:dk2>
        <a:lt2>
          <a:srgbClr val="6699C2"/>
        </a:lt2>
        <a:accent1>
          <a:srgbClr val="FF0000"/>
        </a:accent1>
        <a:accent2>
          <a:srgbClr val="626469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585A5E"/>
        </a:accent6>
        <a:hlink>
          <a:srgbClr val="BEBEBE"/>
        </a:hlink>
        <a:folHlink>
          <a:srgbClr val="F9AE9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A4 Non-Message Driven 2">
        <a:dk1>
          <a:srgbClr val="000000"/>
        </a:dk1>
        <a:lt1>
          <a:srgbClr val="FFFFFF"/>
        </a:lt1>
        <a:dk2>
          <a:srgbClr val="FDD0B9"/>
        </a:dk2>
        <a:lt2>
          <a:srgbClr val="323232"/>
        </a:lt2>
        <a:accent1>
          <a:srgbClr val="FF0000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8A8A8A"/>
        </a:accent6>
        <a:hlink>
          <a:srgbClr val="E6E6E6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A4 Non-Message Driven HSBC">
  <a:themeElements>
    <a:clrScheme name="A4 Non-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b="1" i="1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marL="0">
          <a:defRPr b="0" dirty="0" smtClean="0"/>
        </a:defPPr>
      </a:lstStyle>
    </a:tx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Blank">
  <a:themeElements>
    <a:clrScheme name="Cover Page 2">
      <a:dk1>
        <a:srgbClr val="000000"/>
      </a:dk1>
      <a:lt1>
        <a:srgbClr val="FFFFFF"/>
      </a:lt1>
      <a:dk2>
        <a:srgbClr val="FDD0B9"/>
      </a:dk2>
      <a:lt2>
        <a:srgbClr val="323232"/>
      </a:lt2>
      <a:accent1>
        <a:srgbClr val="FF0000"/>
      </a:accent1>
      <a:accent2>
        <a:srgbClr val="999999"/>
      </a:accent2>
      <a:accent3>
        <a:srgbClr val="FFFFFF"/>
      </a:accent3>
      <a:accent4>
        <a:srgbClr val="000000"/>
      </a:accent4>
      <a:accent5>
        <a:srgbClr val="FFAAAA"/>
      </a:accent5>
      <a:accent6>
        <a:srgbClr val="8A8A8A"/>
      </a:accent6>
      <a:hlink>
        <a:srgbClr val="E6E6E6"/>
      </a:hlink>
      <a:folHlink>
        <a:srgbClr val="666666"/>
      </a:folHlink>
    </a:clrScheme>
    <a:fontScheme name="Cover Pag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25400" cap="flat" cmpd="sng" algn="ctr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21600" rIns="0" bIns="0" numCol="1" anchor="t" anchorCtr="0" compatLnSpc="1">
        <a:prstTxWarp prst="textNoShape">
          <a:avLst/>
        </a:prstTxWarp>
      </a:bodyPr>
      <a:lstStyle>
        <a:defPPr marL="361950" marR="0" indent="-180975" algn="l" defTabSz="9017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Wingdings" pitchFamily="2" charset="2"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25400" cap="flat" cmpd="sng" algn="ctr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21600" rIns="0" bIns="0" numCol="1" anchor="t" anchorCtr="0" compatLnSpc="1">
        <a:prstTxWarp prst="textNoShape">
          <a:avLst/>
        </a:prstTxWarp>
      </a:bodyPr>
      <a:lstStyle>
        <a:defPPr marL="361950" marR="0" indent="-180975" algn="l" defTabSz="9017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Wingdings" pitchFamily="2" charset="2"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over Page 1">
        <a:dk1>
          <a:srgbClr val="000000"/>
        </a:dk1>
        <a:lt1>
          <a:srgbClr val="FFFFFF"/>
        </a:lt1>
        <a:dk2>
          <a:srgbClr val="E6B012"/>
        </a:dk2>
        <a:lt2>
          <a:srgbClr val="6699C2"/>
        </a:lt2>
        <a:accent1>
          <a:srgbClr val="FF0000"/>
        </a:accent1>
        <a:accent2>
          <a:srgbClr val="626469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585A5E"/>
        </a:accent6>
        <a:hlink>
          <a:srgbClr val="BEBEBE"/>
        </a:hlink>
        <a:folHlink>
          <a:srgbClr val="F9AE9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 Page 2">
        <a:dk1>
          <a:srgbClr val="000000"/>
        </a:dk1>
        <a:lt1>
          <a:srgbClr val="FFFFFF"/>
        </a:lt1>
        <a:dk2>
          <a:srgbClr val="FDD0B9"/>
        </a:dk2>
        <a:lt2>
          <a:srgbClr val="323232"/>
        </a:lt2>
        <a:accent1>
          <a:srgbClr val="FF0000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8A8A8A"/>
        </a:accent6>
        <a:hlink>
          <a:srgbClr val="E6E6E6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8_HSBC116_Multi Channel Distribution Workshop_Speakers_template_v1">
  <a:themeElements>
    <a:clrScheme name="HSBC RBWM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559FD3"/>
      </a:accent2>
      <a:accent3>
        <a:srgbClr val="7878B2"/>
      </a:accent3>
      <a:accent4>
        <a:srgbClr val="75C2BD"/>
      </a:accent4>
      <a:accent5>
        <a:srgbClr val="FDB812"/>
      </a:accent5>
      <a:accent6>
        <a:srgbClr val="7F7F7F"/>
      </a:accent6>
      <a:hlink>
        <a:srgbClr val="559FD3"/>
      </a:hlink>
      <a:folHlink>
        <a:srgbClr val="FDB81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wrap="square" lIns="0" tIns="0" rIns="0" bIns="0" rtlCol="0" anchor="ctr"/>
      <a:lstStyle>
        <a:defPPr algn="ctr" defTabSz="869950">
          <a:defRPr sz="1200" b="0" dirty="0">
            <a:solidFill>
              <a:schemeClr val="tx2"/>
            </a:solidFill>
          </a:defRPr>
        </a:defPPr>
      </a:lstStyle>
    </a:spDef>
  </a:objectDefaults>
  <a:extraClrSchemeLst/>
</a:theme>
</file>

<file path=ppt/theme/theme9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B825E259575439984803B260D15B8" ma:contentTypeVersion="1" ma:contentTypeDescription="Create a new document." ma:contentTypeScope="" ma:versionID="5732aedc440a7bb23c91707908384dc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6BECE5F-00DE-4194-9F3B-1FA0869BA22F}">
  <ds:schemaRefs>
    <ds:schemaRef ds:uri="http://purl.org/dc/terms/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81387B1-0B06-42D0-A821-30F46B45DE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3E6E02-BD59-4E67-A217-55E35AAB16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K Wealth proposition template v 2</Template>
  <TotalTime>73731</TotalTime>
  <Words>401</Words>
  <Application>Microsoft Office PowerPoint</Application>
  <PresentationFormat>A4 Paper (210x297 mm)</PresentationFormat>
  <Paragraphs>94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49" baseType="lpstr">
      <vt:lpstr>MS PGothic</vt:lpstr>
      <vt:lpstr>PMingLiU</vt:lpstr>
      <vt:lpstr>Arial</vt:lpstr>
      <vt:lpstr>Calibri</vt:lpstr>
      <vt:lpstr>Calibri Light</vt:lpstr>
      <vt:lpstr>Symbol</vt:lpstr>
      <vt:lpstr>Times New Roman</vt:lpstr>
      <vt:lpstr>Trebuchet MS</vt:lpstr>
      <vt:lpstr>Univers 45 Light</vt:lpstr>
      <vt:lpstr>Wingdings</vt:lpstr>
      <vt:lpstr>Wingdings 3</vt:lpstr>
      <vt:lpstr>UK Wealth proposition template v 2</vt:lpstr>
      <vt:lpstr>1_A4 Non-Message Driven</vt:lpstr>
      <vt:lpstr>12_HSBC116_Multi Channel Distribution Workshop_Speakers_template_v1</vt:lpstr>
      <vt:lpstr>13_HSBC116_Multi Channel Distribution Workshop_Speakers_template_v1</vt:lpstr>
      <vt:lpstr>2_A4 Non-Message Driven</vt:lpstr>
      <vt:lpstr>A4 Non-Message Driven HSBC</vt:lpstr>
      <vt:lpstr>Blank</vt:lpstr>
      <vt:lpstr>8_HSBC116_Multi Channel Distribution Workshop_Speakers_template_v1</vt:lpstr>
      <vt:lpstr>Custom Design</vt:lpstr>
      <vt:lpstr>HSBC116_Multi Channel Distribution Workshop_Speakers_template_v1</vt:lpstr>
      <vt:lpstr>52907[1]</vt:lpstr>
      <vt:lpstr>1_HSBC116_Multi Channel Distribution Workshop_Speakers_template_v1</vt:lpstr>
      <vt:lpstr>2_HSBC116_Multi Channel Distribution Workshop_Speakers_template_v1</vt:lpstr>
      <vt:lpstr>3_HSBC116_Multi Channel Distribution Workshop_Speakers_template_v1</vt:lpstr>
      <vt:lpstr>4_HSBC116_Multi Channel Distribution Workshop_Speakers_template_v1</vt:lpstr>
      <vt:lpstr>5_HSBC116_Multi Channel Distribution Workshop_Speakers_template_v1</vt:lpstr>
      <vt:lpstr>6_HSBC116_Multi Channel Distribution Workshop_Speakers_template_v1</vt:lpstr>
      <vt:lpstr>7_HSBC116_Multi Channel Distribution Workshop_Speakers_template_v1</vt:lpstr>
      <vt:lpstr>9_HSBC116_Multi Channel Distribution Workshop_Speakers_template_v1</vt:lpstr>
      <vt:lpstr>10_HSBC116_Multi Channel Distribution Workshop_Speakers_template_v1</vt:lpstr>
      <vt:lpstr>11_HSBC116_Multi Channel Distribution Workshop_Speakers_template_v1</vt:lpstr>
      <vt:lpstr>14_HSBC116_Multi Channel Distribution Workshop_Speakers_template_v1</vt:lpstr>
      <vt:lpstr>15_HSBC116_Multi Channel Distribution Workshop_Speakers_template_v1</vt:lpstr>
      <vt:lpstr>Theme HSBC</vt:lpstr>
      <vt:lpstr>16_HSBC116_Multi Channel Distribution Workshop_Speakers_template_v1</vt:lpstr>
      <vt:lpstr>17_HSBC116_Multi Channel Distribution Workshop_Speakers_template_v1</vt:lpstr>
      <vt:lpstr>A4 Message Driven HSBC</vt:lpstr>
      <vt:lpstr>1_A4 Non-Message Driven HSBC</vt:lpstr>
      <vt:lpstr>18_HSBC116_Multi Channel Distribution Workshop_Speakers_template_v1</vt:lpstr>
      <vt:lpstr>2_A4 Non-Message Driven HSBC</vt:lpstr>
      <vt:lpstr>1_blank</vt:lpstr>
      <vt:lpstr>think-cell Slide</vt:lpstr>
      <vt:lpstr>PCF Internals</vt:lpstr>
      <vt:lpstr>Agenda</vt:lpstr>
      <vt:lpstr>CF Push Workflow</vt:lpstr>
      <vt:lpstr>PCF Overall Architecture</vt:lpstr>
      <vt:lpstr>PCF Internal Logical Architecture</vt:lpstr>
      <vt:lpstr>Thank You</vt:lpstr>
    </vt:vector>
  </TitlesOfParts>
  <Company>Deloitte Touche Tohmatsu Services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Review Presention</dc:title>
  <dc:creator>Greg Bridgeo</dc:creator>
  <cp:keywords>RESTRICTED</cp:keywords>
  <dc:description>RESTRICTED</dc:description>
  <cp:lastModifiedBy>vikas.k.gupta@noexternalmail.hsbc.com</cp:lastModifiedBy>
  <cp:revision>2494</cp:revision>
  <cp:lastPrinted>2015-03-16T14:45:48Z</cp:lastPrinted>
  <dcterms:created xsi:type="dcterms:W3CDTF">2012-10-28T08:01:36Z</dcterms:created>
  <dcterms:modified xsi:type="dcterms:W3CDTF">2017-04-13T05:5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SBCBackground">
    <vt:lpwstr>False</vt:lpwstr>
  </property>
  <property fmtid="{D5CDD505-2E9C-101B-9397-08002B2CF9AE}" pid="3" name="Classification">
    <vt:lpwstr>RESTRICTED</vt:lpwstr>
  </property>
  <property fmtid="{D5CDD505-2E9C-101B-9397-08002B2CF9AE}" pid="4" name="Source">
    <vt:lpwstr>Internal</vt:lpwstr>
  </property>
  <property fmtid="{D5CDD505-2E9C-101B-9397-08002B2CF9AE}" pid="5" name="Footers">
    <vt:lpwstr>Footers</vt:lpwstr>
  </property>
  <property fmtid="{D5CDD505-2E9C-101B-9397-08002B2CF9AE}" pid="6" name="DocClassification">
    <vt:lpwstr>CLARESTRI</vt:lpwstr>
  </property>
  <property fmtid="{D5CDD505-2E9C-101B-9397-08002B2CF9AE}" pid="7" name="ContentTypeId">
    <vt:lpwstr>0x0101009E6B825E259575439984803B260D15B8</vt:lpwstr>
  </property>
</Properties>
</file>